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tags/tag8.xml" ContentType="application/vnd.openxmlformats-officedocument.presentationml.tags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6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69" r:id="rId3"/>
    <p:sldId id="258" r:id="rId4"/>
    <p:sldId id="304" r:id="rId5"/>
    <p:sldId id="273" r:id="rId6"/>
    <p:sldId id="274" r:id="rId7"/>
    <p:sldId id="317" r:id="rId8"/>
    <p:sldId id="318" r:id="rId9"/>
    <p:sldId id="327" r:id="rId10"/>
    <p:sldId id="319" r:id="rId11"/>
    <p:sldId id="328" r:id="rId12"/>
    <p:sldId id="321" r:id="rId13"/>
    <p:sldId id="322" r:id="rId14"/>
    <p:sldId id="323" r:id="rId15"/>
    <p:sldId id="324" r:id="rId16"/>
    <p:sldId id="325" r:id="rId17"/>
    <p:sldId id="326" r:id="rId18"/>
    <p:sldId id="329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7"/>
    <a:srgbClr val="F08300"/>
    <a:srgbClr val="001736"/>
    <a:srgbClr val="041A34"/>
    <a:srgbClr val="00347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4" autoAdjust="0"/>
    <p:restoredTop sz="96182" autoAdjust="0"/>
  </p:normalViewPr>
  <p:slideViewPr>
    <p:cSldViewPr snapToGrid="0">
      <p:cViewPr varScale="1">
        <p:scale>
          <a:sx n="109" d="100"/>
          <a:sy n="109" d="100"/>
        </p:scale>
        <p:origin x="8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12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1">
            <a:extLst>
              <a:ext uri="{FF2B5EF4-FFF2-40B4-BE49-F238E27FC236}">
                <a16:creationId xmlns:a16="http://schemas.microsoft.com/office/drawing/2014/main" id="{C8656260-0DAA-4BCA-956E-5DF150AF42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í$ľîḓè">
            <a:extLst>
              <a:ext uri="{FF2B5EF4-FFF2-40B4-BE49-F238E27FC236}">
                <a16:creationId xmlns:a16="http://schemas.microsoft.com/office/drawing/2014/main" id="{39121CC9-492B-472F-AB60-7D1F2427930D}"/>
              </a:ext>
            </a:extLst>
          </p:cNvPr>
          <p:cNvSpPr/>
          <p:nvPr userDrawn="1"/>
        </p:nvSpPr>
        <p:spPr>
          <a:xfrm>
            <a:off x="-3604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ṩ1idê">
            <a:extLst>
              <a:ext uri="{FF2B5EF4-FFF2-40B4-BE49-F238E27FC236}">
                <a16:creationId xmlns:a16="http://schemas.microsoft.com/office/drawing/2014/main" id="{DE7B807E-E01A-4AFD-9A50-20210CD7B21B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0885" r="-10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ïṣḷíḋé">
            <a:extLst>
              <a:ext uri="{FF2B5EF4-FFF2-40B4-BE49-F238E27FC236}">
                <a16:creationId xmlns:a16="http://schemas.microsoft.com/office/drawing/2014/main" id="{15D53D93-35DC-4E96-95E2-01CE36D06BED}"/>
              </a:ext>
            </a:extLst>
          </p:cNvPr>
          <p:cNvSpPr/>
          <p:nvPr userDrawn="1"/>
        </p:nvSpPr>
        <p:spPr>
          <a:xfrm>
            <a:off x="4906913" y="0"/>
            <a:ext cx="3955516" cy="365590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iş1îḑé">
            <a:extLst>
              <a:ext uri="{FF2B5EF4-FFF2-40B4-BE49-F238E27FC236}">
                <a16:creationId xmlns:a16="http://schemas.microsoft.com/office/drawing/2014/main" id="{729DEC4C-6670-452D-9EAA-A600ABE860D6}"/>
              </a:ext>
            </a:extLst>
          </p:cNvPr>
          <p:cNvSpPr/>
          <p:nvPr userDrawn="1"/>
        </p:nvSpPr>
        <p:spPr>
          <a:xfrm>
            <a:off x="10490882" y="2022031"/>
            <a:ext cx="1697514" cy="2819365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í$ḻïḓé">
            <a:extLst>
              <a:ext uri="{FF2B5EF4-FFF2-40B4-BE49-F238E27FC236}">
                <a16:creationId xmlns:a16="http://schemas.microsoft.com/office/drawing/2014/main" id="{41844EB8-6924-4FA7-BD8C-153CC5338BA7}"/>
              </a:ext>
            </a:extLst>
          </p:cNvPr>
          <p:cNvSpPr/>
          <p:nvPr userDrawn="1"/>
        </p:nvSpPr>
        <p:spPr>
          <a:xfrm>
            <a:off x="10073794" y="2366994"/>
            <a:ext cx="2118206" cy="3564196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ïŝļîḍè">
            <a:extLst>
              <a:ext uri="{FF2B5EF4-FFF2-40B4-BE49-F238E27FC236}">
                <a16:creationId xmlns:a16="http://schemas.microsoft.com/office/drawing/2014/main" id="{C9A33AB4-1CF5-41FD-AFD9-8EAFEBEF518F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solidFill>
            <a:schemeClr val="accent3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1789" y="2069508"/>
            <a:ext cx="10447110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228589" lvl="0" indent="-228589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80509" y="2717966"/>
            <a:ext cx="10438390" cy="2087481"/>
          </a:xfrm>
        </p:spPr>
        <p:txBody>
          <a:bodyPr vert="horz" lIns="91440" tIns="45720" rIns="91440" bIns="45720" rtlCol="0" anchor="b">
            <a:normAutofit/>
          </a:bodyPr>
          <a:lstStyle>
            <a:lvl1pPr marL="571500" indent="-571500">
              <a:buFont typeface="Arial" panose="020B0604020202020204" pitchFamily="34" charset="0"/>
              <a:buNone/>
              <a:defRPr lang="zh-CN" altLang="en-US" sz="4000" b="0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1789" y="5387317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71789" y="5683588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DBA6F86-4A2D-4B39-9997-6BF685C13150}"/>
              </a:ext>
            </a:extLst>
          </p:cNvPr>
          <p:cNvGrpSpPr/>
          <p:nvPr userDrawn="1"/>
        </p:nvGrpSpPr>
        <p:grpSpPr>
          <a:xfrm>
            <a:off x="1071789" y="916886"/>
            <a:ext cx="2217511" cy="499112"/>
            <a:chOff x="1071789" y="916886"/>
            <a:chExt cx="2217511" cy="499112"/>
          </a:xfrm>
        </p:grpSpPr>
        <p:grpSp>
          <p:nvGrpSpPr>
            <p:cNvPr id="15" name="ï$ļidê">
              <a:extLst>
                <a:ext uri="{FF2B5EF4-FFF2-40B4-BE49-F238E27FC236}">
                  <a16:creationId xmlns:a16="http://schemas.microsoft.com/office/drawing/2014/main" id="{9F05585E-0700-4BBB-A9DD-3CA7AE3B5D5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16" name="íṡḷïdè">
                <a:extLst>
                  <a:ext uri="{FF2B5EF4-FFF2-40B4-BE49-F238E27FC236}">
                    <a16:creationId xmlns:a16="http://schemas.microsoft.com/office/drawing/2014/main" id="{C9C1E94C-2E47-4839-BD57-269DDF0A0248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ṣ1îḑè">
                <a:extLst>
                  <a:ext uri="{FF2B5EF4-FFF2-40B4-BE49-F238E27FC236}">
                    <a16:creationId xmlns:a16="http://schemas.microsoft.com/office/drawing/2014/main" id="{E30692F5-62AB-4E1C-B013-47986D1105E8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s1ïḍê">
                <a:extLst>
                  <a:ext uri="{FF2B5EF4-FFF2-40B4-BE49-F238E27FC236}">
                    <a16:creationId xmlns:a16="http://schemas.microsoft.com/office/drawing/2014/main" id="{A2A2899E-53F9-406B-ACFE-E199A7E73BB8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šļïḋé">
                <a:extLst>
                  <a:ext uri="{FF2B5EF4-FFF2-40B4-BE49-F238E27FC236}">
                    <a16:creationId xmlns:a16="http://schemas.microsoft.com/office/drawing/2014/main" id="{51DBB156-1DE8-48FD-9CB9-9AA3D7180C56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şḷîḋè">
                <a:extLst>
                  <a:ext uri="{FF2B5EF4-FFF2-40B4-BE49-F238E27FC236}">
                    <a16:creationId xmlns:a16="http://schemas.microsoft.com/office/drawing/2014/main" id="{91BB4CBC-7C27-4E15-A850-D8401C643978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ślídê">
                <a:extLst>
                  <a:ext uri="{FF2B5EF4-FFF2-40B4-BE49-F238E27FC236}">
                    <a16:creationId xmlns:a16="http://schemas.microsoft.com/office/drawing/2014/main" id="{311EAFB6-5AA6-4C7B-AA29-57FA3AA5C1C7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$ḻîḋe">
                <a:extLst>
                  <a:ext uri="{FF2B5EF4-FFF2-40B4-BE49-F238E27FC236}">
                    <a16:creationId xmlns:a16="http://schemas.microsoft.com/office/drawing/2014/main" id="{7FC06178-89EF-406E-90A7-6E036FF2E402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ŝḷîḓé">
                <a:extLst>
                  <a:ext uri="{FF2B5EF4-FFF2-40B4-BE49-F238E27FC236}">
                    <a16:creationId xmlns:a16="http://schemas.microsoft.com/office/drawing/2014/main" id="{360A0ED6-F5EB-4B85-8BEB-170C2CA34DFD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şlîḑé">
                <a:extLst>
                  <a:ext uri="{FF2B5EF4-FFF2-40B4-BE49-F238E27FC236}">
                    <a16:creationId xmlns:a16="http://schemas.microsoft.com/office/drawing/2014/main" id="{5EBE9075-CB89-4B07-BF6B-F76C14A6A250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ṣliḍe">
                <a:extLst>
                  <a:ext uri="{FF2B5EF4-FFF2-40B4-BE49-F238E27FC236}">
                    <a16:creationId xmlns:a16="http://schemas.microsoft.com/office/drawing/2014/main" id="{E60C8BD0-583B-4A7B-85AA-4B0DCBCCF7E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26" name="îṧľîḍe">
                <a:extLst>
                  <a:ext uri="{FF2B5EF4-FFF2-40B4-BE49-F238E27FC236}">
                    <a16:creationId xmlns:a16="http://schemas.microsoft.com/office/drawing/2014/main" id="{F7520B1E-9FF6-4490-9AF5-A6CD7BC5F07A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ŝ1iďe">
                <a:extLst>
                  <a:ext uri="{FF2B5EF4-FFF2-40B4-BE49-F238E27FC236}">
                    <a16:creationId xmlns:a16="http://schemas.microsoft.com/office/drawing/2014/main" id="{7AF0FB22-382E-4C2F-947B-F3EE610E0E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ļîḋè">
                <a:extLst>
                  <a:ext uri="{FF2B5EF4-FFF2-40B4-BE49-F238E27FC236}">
                    <a16:creationId xmlns:a16="http://schemas.microsoft.com/office/drawing/2014/main" id="{6CB97203-D927-4E59-8380-B0F6F40990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ṧlide">
                <a:extLst>
                  <a:ext uri="{FF2B5EF4-FFF2-40B4-BE49-F238E27FC236}">
                    <a16:creationId xmlns:a16="http://schemas.microsoft.com/office/drawing/2014/main" id="{C54E38DC-5B65-432F-BDF6-4E99EC2D3B7A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ṣḷîḍè">
                <a:extLst>
                  <a:ext uri="{FF2B5EF4-FFF2-40B4-BE49-F238E27FC236}">
                    <a16:creationId xmlns:a16="http://schemas.microsoft.com/office/drawing/2014/main" id="{0EF5FD93-45AD-46A4-8202-FF32E73CE5AC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ṧḷîďé">
                <a:extLst>
                  <a:ext uri="{FF2B5EF4-FFF2-40B4-BE49-F238E27FC236}">
                    <a16:creationId xmlns:a16="http://schemas.microsoft.com/office/drawing/2014/main" id="{522232E4-4E21-4976-BFF1-3669AE8F576B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ḍe">
                <a:extLst>
                  <a:ext uri="{FF2B5EF4-FFF2-40B4-BE49-F238E27FC236}">
                    <a16:creationId xmlns:a16="http://schemas.microsoft.com/office/drawing/2014/main" id="{2F9CAD39-E743-47FE-B65F-037B65C92EAD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3" name="iṡlïḓè">
              <a:extLst>
                <a:ext uri="{FF2B5EF4-FFF2-40B4-BE49-F238E27FC236}">
                  <a16:creationId xmlns:a16="http://schemas.microsoft.com/office/drawing/2014/main" id="{C4B7F650-2D08-48CE-8874-0B637795FC37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34" name="îś1iḑe">
                <a:extLst>
                  <a:ext uri="{FF2B5EF4-FFF2-40B4-BE49-F238E27FC236}">
                    <a16:creationId xmlns:a16="http://schemas.microsoft.com/office/drawing/2014/main" id="{B2E0B3C9-EAF4-4A46-8835-CAD2AD4AABEC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ṡlïḋé">
                <a:extLst>
                  <a:ext uri="{FF2B5EF4-FFF2-40B4-BE49-F238E27FC236}">
                    <a16:creationId xmlns:a16="http://schemas.microsoft.com/office/drawing/2014/main" id="{A1DA236C-E443-4CA3-8E69-9ED93BCF8C5B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ṣḷiḑé">
                <a:extLst>
                  <a:ext uri="{FF2B5EF4-FFF2-40B4-BE49-F238E27FC236}">
                    <a16:creationId xmlns:a16="http://schemas.microsoft.com/office/drawing/2014/main" id="{E15FF73D-F61A-427D-AB3B-511EA8DE1FC5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ṣlîḍe">
                <a:extLst>
                  <a:ext uri="{FF2B5EF4-FFF2-40B4-BE49-F238E27FC236}">
                    <a16:creationId xmlns:a16="http://schemas.microsoft.com/office/drawing/2014/main" id="{D3DE80C0-512C-4411-93F8-E5C37183A47C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śļïďè">
                <a:extLst>
                  <a:ext uri="{FF2B5EF4-FFF2-40B4-BE49-F238E27FC236}">
                    <a16:creationId xmlns:a16="http://schemas.microsoft.com/office/drawing/2014/main" id="{D47DE5DB-7E72-4C9A-B7B2-CA92AAB3190B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ľiḍê">
                <a:extLst>
                  <a:ext uri="{FF2B5EF4-FFF2-40B4-BE49-F238E27FC236}">
                    <a16:creationId xmlns:a16="http://schemas.microsoft.com/office/drawing/2014/main" id="{DCF47C1E-F0A9-4C5C-B389-E0633DB7C343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0" name="iṧlide">
              <a:extLst>
                <a:ext uri="{FF2B5EF4-FFF2-40B4-BE49-F238E27FC236}">
                  <a16:creationId xmlns:a16="http://schemas.microsoft.com/office/drawing/2014/main" id="{39720CBA-2A4E-46FF-9592-8B7E3D032116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41" name="iş1íḍê">
                <a:extLst>
                  <a:ext uri="{FF2B5EF4-FFF2-40B4-BE49-F238E27FC236}">
                    <a16:creationId xmlns:a16="http://schemas.microsoft.com/office/drawing/2014/main" id="{5AA59F4F-3BD3-4320-B6EB-A2ED9B1D21E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şľiḓe">
                <a:extLst>
                  <a:ext uri="{FF2B5EF4-FFF2-40B4-BE49-F238E27FC236}">
                    <a16:creationId xmlns:a16="http://schemas.microsoft.com/office/drawing/2014/main" id="{E2DF964D-7146-4C25-A7D0-A519CF50AA41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草地上的建筑&#10;&#10;描述已自动生成">
            <a:extLst>
              <a:ext uri="{FF2B5EF4-FFF2-40B4-BE49-F238E27FC236}">
                <a16:creationId xmlns:a16="http://schemas.microsoft.com/office/drawing/2014/main" id="{BBFFA7F1-2C54-445A-92A8-E46F031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" y="-1"/>
            <a:ext cx="12173002" cy="6858000"/>
          </a:xfrm>
          <a:prstGeom prst="rect">
            <a:avLst/>
          </a:prstGeom>
        </p:spPr>
      </p:pic>
      <p:sp>
        <p:nvSpPr>
          <p:cNvPr id="11" name="ïṣḷïḋe">
            <a:extLst>
              <a:ext uri="{FF2B5EF4-FFF2-40B4-BE49-F238E27FC236}">
                <a16:creationId xmlns:a16="http://schemas.microsoft.com/office/drawing/2014/main" id="{F45ED433-40CE-4A52-8775-D14AFBBF996A}"/>
              </a:ext>
            </a:extLst>
          </p:cNvPr>
          <p:cNvSpPr/>
          <p:nvPr userDrawn="1"/>
        </p:nvSpPr>
        <p:spPr>
          <a:xfrm>
            <a:off x="1" y="3553277"/>
            <a:ext cx="3520161" cy="3304722"/>
          </a:xfrm>
          <a:custGeom>
            <a:avLst/>
            <a:gdLst>
              <a:gd name="connsiteX0" fmla="*/ 2267365 w 3520161"/>
              <a:gd name="connsiteY0" fmla="*/ 83 h 3304722"/>
              <a:gd name="connsiteX1" fmla="*/ 3070329 w 3520161"/>
              <a:gd name="connsiteY1" fmla="*/ 299271 h 3304722"/>
              <a:gd name="connsiteX2" fmla="*/ 3070328 w 3520161"/>
              <a:gd name="connsiteY2" fmla="*/ 299271 h 3304722"/>
              <a:gd name="connsiteX3" fmla="*/ 3220892 w 3520161"/>
              <a:gd name="connsiteY3" fmla="*/ 2086011 h 3304722"/>
              <a:gd name="connsiteX4" fmla="*/ 2191612 w 3520161"/>
              <a:gd name="connsiteY4" fmla="*/ 3304722 h 3304722"/>
              <a:gd name="connsiteX5" fmla="*/ 0 w 3520161"/>
              <a:gd name="connsiteY5" fmla="*/ 3304722 h 3304722"/>
              <a:gd name="connsiteX6" fmla="*/ 0 w 3520161"/>
              <a:gd name="connsiteY6" fmla="*/ 1969656 h 3304722"/>
              <a:gd name="connsiteX7" fmla="*/ 1283589 w 3520161"/>
              <a:gd name="connsiteY7" fmla="*/ 449834 h 3304722"/>
              <a:gd name="connsiteX8" fmla="*/ 2267365 w 3520161"/>
              <a:gd name="connsiteY8" fmla="*/ 83 h 330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161" h="3304722">
                <a:moveTo>
                  <a:pt x="2267365" y="83"/>
                </a:moveTo>
                <a:cubicBezTo>
                  <a:pt x="2551510" y="3313"/>
                  <a:pt x="2836279" y="101600"/>
                  <a:pt x="3070329" y="299271"/>
                </a:cubicBezTo>
                <a:lnTo>
                  <a:pt x="3070328" y="299271"/>
                </a:lnTo>
                <a:cubicBezTo>
                  <a:pt x="3605301" y="751088"/>
                  <a:pt x="3672710" y="1551040"/>
                  <a:pt x="3220892" y="2086011"/>
                </a:cubicBezTo>
                <a:lnTo>
                  <a:pt x="2191612" y="3304722"/>
                </a:lnTo>
                <a:lnTo>
                  <a:pt x="0" y="3304722"/>
                </a:lnTo>
                <a:lnTo>
                  <a:pt x="0" y="1969656"/>
                </a:lnTo>
                <a:lnTo>
                  <a:pt x="1283589" y="449834"/>
                </a:lnTo>
                <a:cubicBezTo>
                  <a:pt x="1537736" y="148912"/>
                  <a:pt x="1902035" y="-4070"/>
                  <a:pt x="2267365" y="83"/>
                </a:cubicBezTo>
                <a:close/>
              </a:path>
            </a:pathLst>
          </a:cu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33323" r="-333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524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536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iśľiḓè">
            <a:extLst>
              <a:ext uri="{FF2B5EF4-FFF2-40B4-BE49-F238E27FC236}">
                <a16:creationId xmlns:a16="http://schemas.microsoft.com/office/drawing/2014/main" id="{123C40B6-E7AA-4DA1-A1EA-507CB8D23762}"/>
              </a:ext>
            </a:extLst>
          </p:cNvPr>
          <p:cNvSpPr/>
          <p:nvPr userDrawn="1"/>
        </p:nvSpPr>
        <p:spPr>
          <a:xfrm flipH="1" flipV="1">
            <a:off x="1811471" y="4868985"/>
            <a:ext cx="2152019" cy="198901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îṡḷidé">
            <a:extLst>
              <a:ext uri="{FF2B5EF4-FFF2-40B4-BE49-F238E27FC236}">
                <a16:creationId xmlns:a16="http://schemas.microsoft.com/office/drawing/2014/main" id="{528AD497-350F-4116-A285-5614CF757254}"/>
              </a:ext>
            </a:extLst>
          </p:cNvPr>
          <p:cNvSpPr/>
          <p:nvPr userDrawn="1"/>
        </p:nvSpPr>
        <p:spPr>
          <a:xfrm flipH="1" flipV="1">
            <a:off x="1961" y="4224012"/>
            <a:ext cx="923541" cy="1533891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íšļiďe">
            <a:extLst>
              <a:ext uri="{FF2B5EF4-FFF2-40B4-BE49-F238E27FC236}">
                <a16:creationId xmlns:a16="http://schemas.microsoft.com/office/drawing/2014/main" id="{13D6C137-EBF6-4B52-8D00-29B84A407F57}"/>
              </a:ext>
            </a:extLst>
          </p:cNvPr>
          <p:cNvSpPr/>
          <p:nvPr userDrawn="1"/>
        </p:nvSpPr>
        <p:spPr>
          <a:xfrm flipH="1" flipV="1">
            <a:off x="0" y="3631103"/>
            <a:ext cx="1152421" cy="1939120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BFFFEFE1-FE65-42C5-B467-B40FC3F0A092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0" name="ï$ļidê">
              <a:extLst>
                <a:ext uri="{FF2B5EF4-FFF2-40B4-BE49-F238E27FC236}">
                  <a16:creationId xmlns:a16="http://schemas.microsoft.com/office/drawing/2014/main" id="{D6B7942D-1FC4-4324-844D-140A5C8D6B8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5" name="ïşļiḓe">
                <a:extLst>
                  <a:ext uri="{FF2B5EF4-FFF2-40B4-BE49-F238E27FC236}">
                    <a16:creationId xmlns:a16="http://schemas.microsoft.com/office/drawing/2014/main" id="{6938A7AE-6671-43B1-8E1C-E15651CA10A9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ľîḍe">
                <a:extLst>
                  <a:ext uri="{FF2B5EF4-FFF2-40B4-BE49-F238E27FC236}">
                    <a16:creationId xmlns:a16="http://schemas.microsoft.com/office/drawing/2014/main" id="{0419830F-0751-4CF3-B14F-C29C2583C5F6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sḻiḓè">
                <a:extLst>
                  <a:ext uri="{FF2B5EF4-FFF2-40B4-BE49-F238E27FC236}">
                    <a16:creationId xmlns:a16="http://schemas.microsoft.com/office/drawing/2014/main" id="{04D17CC4-931C-45A1-A18D-9350E99812F5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ḷïḍé">
                <a:extLst>
                  <a:ext uri="{FF2B5EF4-FFF2-40B4-BE49-F238E27FC236}">
                    <a16:creationId xmlns:a16="http://schemas.microsoft.com/office/drawing/2014/main" id="{222ACFAB-7BF9-49DF-908C-8B639997C4CF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şļidè">
                <a:extLst>
                  <a:ext uri="{FF2B5EF4-FFF2-40B4-BE49-F238E27FC236}">
                    <a16:creationId xmlns:a16="http://schemas.microsoft.com/office/drawing/2014/main" id="{5881DE1F-926E-4434-B24B-C193FD00B25A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ḷîde">
                <a:extLst>
                  <a:ext uri="{FF2B5EF4-FFF2-40B4-BE49-F238E27FC236}">
                    <a16:creationId xmlns:a16="http://schemas.microsoft.com/office/drawing/2014/main" id="{DDB1C6B8-D9EF-4FBC-AA39-0548B5197C71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ľíḋé">
                <a:extLst>
                  <a:ext uri="{FF2B5EF4-FFF2-40B4-BE49-F238E27FC236}">
                    <a16:creationId xmlns:a16="http://schemas.microsoft.com/office/drawing/2014/main" id="{95E045EE-4E12-4070-9889-4339B0947CD7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ḻîďê">
                <a:extLst>
                  <a:ext uri="{FF2B5EF4-FFF2-40B4-BE49-F238E27FC236}">
                    <a16:creationId xmlns:a16="http://schemas.microsoft.com/office/drawing/2014/main" id="{97E3FB5F-B878-4BD3-B57C-F22DFFF3549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s1ide">
                <a:extLst>
                  <a:ext uri="{FF2B5EF4-FFF2-40B4-BE49-F238E27FC236}">
                    <a16:creationId xmlns:a16="http://schemas.microsoft.com/office/drawing/2014/main" id="{12F38D4F-65AD-4CCD-91E4-71511C5C49F7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sļïḍê">
                <a:extLst>
                  <a:ext uri="{FF2B5EF4-FFF2-40B4-BE49-F238E27FC236}">
                    <a16:creationId xmlns:a16="http://schemas.microsoft.com/office/drawing/2014/main" id="{893EEA19-7F57-4485-9789-A233D56A51A6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5" name="îṣ1ïḑé">
                <a:extLst>
                  <a:ext uri="{FF2B5EF4-FFF2-40B4-BE49-F238E27FC236}">
                    <a16:creationId xmlns:a16="http://schemas.microsoft.com/office/drawing/2014/main" id="{0322BE64-A0E4-4BB3-B5A9-E5D71E2A3B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ṣ1îḓê">
                <a:extLst>
                  <a:ext uri="{FF2B5EF4-FFF2-40B4-BE49-F238E27FC236}">
                    <a16:creationId xmlns:a16="http://schemas.microsoft.com/office/drawing/2014/main" id="{D21C742C-7B20-4002-B310-644AFA897359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iďè">
                <a:extLst>
                  <a:ext uri="{FF2B5EF4-FFF2-40B4-BE49-F238E27FC236}">
                    <a16:creationId xmlns:a16="http://schemas.microsoft.com/office/drawing/2014/main" id="{CCBF5AB7-D62D-406F-AF12-55657BA377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1îḑê">
                <a:extLst>
                  <a:ext uri="{FF2B5EF4-FFF2-40B4-BE49-F238E27FC236}">
                    <a16:creationId xmlns:a16="http://schemas.microsoft.com/office/drawing/2014/main" id="{1E039AA3-C512-441B-96EF-01B3C08AE126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ŝḻîdê">
                <a:extLst>
                  <a:ext uri="{FF2B5EF4-FFF2-40B4-BE49-F238E27FC236}">
                    <a16:creationId xmlns:a16="http://schemas.microsoft.com/office/drawing/2014/main" id="{16F6E2BD-1F4B-4129-9B83-C3987963DE8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ṥļîďé">
                <a:extLst>
                  <a:ext uri="{FF2B5EF4-FFF2-40B4-BE49-F238E27FC236}">
                    <a16:creationId xmlns:a16="http://schemas.microsoft.com/office/drawing/2014/main" id="{0D4A6BD9-D7E4-42ED-8822-2697EDB2F6B5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şľídè">
                <a:extLst>
                  <a:ext uri="{FF2B5EF4-FFF2-40B4-BE49-F238E27FC236}">
                    <a16:creationId xmlns:a16="http://schemas.microsoft.com/office/drawing/2014/main" id="{DCA58161-1FBE-4A63-B0BF-0DA772E56C82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ṡlïḓè">
              <a:extLst>
                <a:ext uri="{FF2B5EF4-FFF2-40B4-BE49-F238E27FC236}">
                  <a16:creationId xmlns:a16="http://schemas.microsoft.com/office/drawing/2014/main" id="{518DE066-BCAA-4BDD-96BD-D6E1F2BF5FC1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îslíḋé">
                <a:extLst>
                  <a:ext uri="{FF2B5EF4-FFF2-40B4-BE49-F238E27FC236}">
                    <a16:creationId xmlns:a16="http://schemas.microsoft.com/office/drawing/2014/main" id="{5886D6D7-D3A1-40F1-8B7D-BDF7B68C9273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lide">
                <a:extLst>
                  <a:ext uri="{FF2B5EF4-FFF2-40B4-BE49-F238E27FC236}">
                    <a16:creationId xmlns:a16="http://schemas.microsoft.com/office/drawing/2014/main" id="{277EC223-DC3B-4B0C-9713-D5AC8D09CE33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š1íḑê">
                <a:extLst>
                  <a:ext uri="{FF2B5EF4-FFF2-40B4-BE49-F238E27FC236}">
                    <a16:creationId xmlns:a16="http://schemas.microsoft.com/office/drawing/2014/main" id="{84E1A051-514E-4AED-A369-BDCE4A347A9B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šļíďè">
                <a:extLst>
                  <a:ext uri="{FF2B5EF4-FFF2-40B4-BE49-F238E27FC236}">
                    <a16:creationId xmlns:a16="http://schemas.microsoft.com/office/drawing/2014/main" id="{4E9DACBA-F481-4DFF-9489-CCEDBFF23CA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iṡļïḑê">
                <a:extLst>
                  <a:ext uri="{FF2B5EF4-FFF2-40B4-BE49-F238E27FC236}">
                    <a16:creationId xmlns:a16="http://schemas.microsoft.com/office/drawing/2014/main" id="{44756734-196B-41F7-ACBF-05AE2BCB115D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1ïďè">
                <a:extLst>
                  <a:ext uri="{FF2B5EF4-FFF2-40B4-BE49-F238E27FC236}">
                    <a16:creationId xmlns:a16="http://schemas.microsoft.com/office/drawing/2014/main" id="{B01E906F-F954-42D4-A065-215ACF9519EF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57B39328-9224-4B4E-936F-66085E357C2C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îSľíďé">
                <a:extLst>
                  <a:ext uri="{FF2B5EF4-FFF2-40B4-BE49-F238E27FC236}">
                    <a16:creationId xmlns:a16="http://schemas.microsoft.com/office/drawing/2014/main" id="{1EC1A250-0861-4A3F-9AFC-1501E377344B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ṡľíďe">
                <a:extLst>
                  <a:ext uri="{FF2B5EF4-FFF2-40B4-BE49-F238E27FC236}">
                    <a16:creationId xmlns:a16="http://schemas.microsoft.com/office/drawing/2014/main" id="{56AC951B-9C04-4B8C-910B-75C20C799C0A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E58F7600-B3CB-4303-8E73-A949AFED3035}"/>
              </a:ext>
            </a:extLst>
          </p:cNvPr>
          <p:cNvGrpSpPr/>
          <p:nvPr userDrawn="1"/>
        </p:nvGrpSpPr>
        <p:grpSpPr>
          <a:xfrm flipH="1">
            <a:off x="0" y="0"/>
            <a:ext cx="6496050" cy="5416345"/>
            <a:chOff x="4906913" y="0"/>
            <a:chExt cx="7285087" cy="6074237"/>
          </a:xfrm>
        </p:grpSpPr>
        <p:sp>
          <p:nvSpPr>
            <p:cNvPr id="2" name="ïṡlîďê">
              <a:extLst>
                <a:ext uri="{FF2B5EF4-FFF2-40B4-BE49-F238E27FC236}">
                  <a16:creationId xmlns:a16="http://schemas.microsoft.com/office/drawing/2014/main" id="{E439CD5A-CAF5-45CD-9FCC-504319DAD15E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10885" r="-1088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" name="ïšḻïḑè">
              <a:extLst>
                <a:ext uri="{FF2B5EF4-FFF2-40B4-BE49-F238E27FC236}">
                  <a16:creationId xmlns:a16="http://schemas.microsoft.com/office/drawing/2014/main" id="{2CD2485B-6B24-4D35-B778-6A8221AAB7E4}"/>
                </a:ext>
              </a:extLst>
            </p:cNvPr>
            <p:cNvSpPr/>
            <p:nvPr userDrawn="1"/>
          </p:nvSpPr>
          <p:spPr>
            <a:xfrm>
              <a:off x="4906913" y="0"/>
              <a:ext cx="3955516" cy="3655904"/>
            </a:xfrm>
            <a:custGeom>
              <a:avLst/>
              <a:gdLst>
                <a:gd name="connsiteX0" fmla="*/ 210268 w 3955516"/>
                <a:gd name="connsiteY0" fmla="*/ 3516016 h 3655904"/>
                <a:gd name="connsiteX1" fmla="*/ 210268 w 3955516"/>
                <a:gd name="connsiteY1" fmla="*/ 3516016 h 3655904"/>
                <a:gd name="connsiteX2" fmla="*/ 210268 w 3955516"/>
                <a:gd name="connsiteY2" fmla="*/ 3516016 h 3655904"/>
                <a:gd name="connsiteX3" fmla="*/ 2404025 w 3955516"/>
                <a:gd name="connsiteY3" fmla="*/ 0 h 3655904"/>
                <a:gd name="connsiteX4" fmla="*/ 3955516 w 3955516"/>
                <a:gd name="connsiteY4" fmla="*/ 0 h 3655904"/>
                <a:gd name="connsiteX5" fmla="*/ 1045452 w 3955516"/>
                <a:gd name="connsiteY5" fmla="*/ 3445637 h 3655904"/>
                <a:gd name="connsiteX6" fmla="*/ 309288 w 3955516"/>
                <a:gd name="connsiteY6" fmla="*/ 3583884 h 3655904"/>
                <a:gd name="connsiteX7" fmla="*/ 210268 w 3955516"/>
                <a:gd name="connsiteY7" fmla="*/ 3516016 h 3655904"/>
                <a:gd name="connsiteX8" fmla="*/ 126786 w 3955516"/>
                <a:gd name="connsiteY8" fmla="*/ 3429750 h 3655904"/>
                <a:gd name="connsiteX9" fmla="*/ 139890 w 3955516"/>
                <a:gd name="connsiteY9" fmla="*/ 2680831 h 365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5516" h="3655904">
                  <a:moveTo>
                    <a:pt x="210268" y="3516016"/>
                  </a:moveTo>
                  <a:lnTo>
                    <a:pt x="210268" y="3516016"/>
                  </a:lnTo>
                  <a:lnTo>
                    <a:pt x="210268" y="3516016"/>
                  </a:lnTo>
                  <a:close/>
                  <a:moveTo>
                    <a:pt x="2404025" y="0"/>
                  </a:moveTo>
                  <a:lnTo>
                    <a:pt x="3955516" y="0"/>
                  </a:lnTo>
                  <a:lnTo>
                    <a:pt x="1045452" y="3445637"/>
                  </a:lnTo>
                  <a:cubicBezTo>
                    <a:pt x="860656" y="3664444"/>
                    <a:pt x="551270" y="3715919"/>
                    <a:pt x="309288" y="3583884"/>
                  </a:cubicBezTo>
                  <a:lnTo>
                    <a:pt x="210268" y="3516016"/>
                  </a:lnTo>
                  <a:lnTo>
                    <a:pt x="126786" y="3429750"/>
                  </a:lnTo>
                  <a:cubicBezTo>
                    <a:pt x="-43881" y="3213275"/>
                    <a:pt x="-44906" y="2899638"/>
                    <a:pt x="139890" y="2680831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" name="î$ļïḓê">
              <a:extLst>
                <a:ext uri="{FF2B5EF4-FFF2-40B4-BE49-F238E27FC236}">
                  <a16:creationId xmlns:a16="http://schemas.microsoft.com/office/drawing/2014/main" id="{3ECDFD97-F9F8-4458-83C7-75F6A6B9BC7F}"/>
                </a:ext>
              </a:extLst>
            </p:cNvPr>
            <p:cNvSpPr/>
            <p:nvPr userDrawn="1"/>
          </p:nvSpPr>
          <p:spPr>
            <a:xfrm>
              <a:off x="10490882" y="2022031"/>
              <a:ext cx="1697514" cy="2819365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1ïdé">
              <a:extLst>
                <a:ext uri="{FF2B5EF4-FFF2-40B4-BE49-F238E27FC236}">
                  <a16:creationId xmlns:a16="http://schemas.microsoft.com/office/drawing/2014/main" id="{2CA04BCD-7F71-4105-83C6-67D474785A06}"/>
                </a:ext>
              </a:extLst>
            </p:cNvPr>
            <p:cNvSpPr/>
            <p:nvPr userDrawn="1"/>
          </p:nvSpPr>
          <p:spPr>
            <a:xfrm>
              <a:off x="10073794" y="2366994"/>
              <a:ext cx="2118206" cy="3564196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îSlíḑè">
              <a:extLst>
                <a:ext uri="{FF2B5EF4-FFF2-40B4-BE49-F238E27FC236}">
                  <a16:creationId xmlns:a16="http://schemas.microsoft.com/office/drawing/2014/main" id="{328C9D76-DBE1-49B5-AF7C-DD24A5B36F96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89224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984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221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4663F0D-3659-453D-9B02-B0E0591B44BB}"/>
              </a:ext>
            </a:extLst>
          </p:cNvPr>
          <p:cNvGrpSpPr/>
          <p:nvPr userDrawn="1"/>
        </p:nvGrpSpPr>
        <p:grpSpPr>
          <a:xfrm>
            <a:off x="11112501" y="4692303"/>
            <a:ext cx="1076284" cy="1986290"/>
            <a:chOff x="11761373" y="5661203"/>
            <a:chExt cx="427411" cy="788790"/>
          </a:xfrm>
        </p:grpSpPr>
        <p:sp>
          <p:nvSpPr>
            <p:cNvPr id="9" name="î$ľídé">
              <a:extLst>
                <a:ext uri="{FF2B5EF4-FFF2-40B4-BE49-F238E27FC236}">
                  <a16:creationId xmlns:a16="http://schemas.microsoft.com/office/drawing/2014/main" id="{12BDBF0A-7794-497A-B347-523784BA2A29}"/>
                </a:ext>
              </a:extLst>
            </p:cNvPr>
            <p:cNvSpPr/>
            <p:nvPr userDrawn="1"/>
          </p:nvSpPr>
          <p:spPr>
            <a:xfrm flipV="1">
              <a:off x="11845533" y="5881102"/>
              <a:ext cx="342524" cy="568891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iśľîḋé">
              <a:extLst>
                <a:ext uri="{FF2B5EF4-FFF2-40B4-BE49-F238E27FC236}">
                  <a16:creationId xmlns:a16="http://schemas.microsoft.com/office/drawing/2014/main" id="{B8EF53BF-186A-47C0-B18A-4E049A034B72}"/>
                </a:ext>
              </a:extLst>
            </p:cNvPr>
            <p:cNvSpPr/>
            <p:nvPr userDrawn="1"/>
          </p:nvSpPr>
          <p:spPr>
            <a:xfrm flipV="1">
              <a:off x="11761373" y="5661203"/>
              <a:ext cx="427411" cy="719183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B1C2309-2FFF-4106-8C5F-C5C1628C054F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2" name="ï$ļidê">
              <a:extLst>
                <a:ext uri="{FF2B5EF4-FFF2-40B4-BE49-F238E27FC236}">
                  <a16:creationId xmlns:a16="http://schemas.microsoft.com/office/drawing/2014/main" id="{8C9E18A8-FCAF-41BD-B1CD-4524C70AEDA0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3" name="îšḻïďe">
                <a:extLst>
                  <a:ext uri="{FF2B5EF4-FFF2-40B4-BE49-F238E27FC236}">
                    <a16:creationId xmlns:a16="http://schemas.microsoft.com/office/drawing/2014/main" id="{2020216F-13DC-4696-95C2-A668999922E5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ṥľide">
                <a:extLst>
                  <a:ext uri="{FF2B5EF4-FFF2-40B4-BE49-F238E27FC236}">
                    <a16:creationId xmlns:a16="http://schemas.microsoft.com/office/drawing/2014/main" id="{4856863A-A215-4EF9-BC82-326846F49742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ş1íḑé">
                <a:extLst>
                  <a:ext uri="{FF2B5EF4-FFF2-40B4-BE49-F238E27FC236}">
                    <a16:creationId xmlns:a16="http://schemas.microsoft.com/office/drawing/2014/main" id="{BEEDAA68-58EA-41CB-975B-A1A655F598C2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Sḷîḑe">
                <a:extLst>
                  <a:ext uri="{FF2B5EF4-FFF2-40B4-BE49-F238E27FC236}">
                    <a16:creationId xmlns:a16="http://schemas.microsoft.com/office/drawing/2014/main" id="{968377F3-6980-45C2-933B-C61B6141A0A4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ṡḻîḋe">
                <a:extLst>
                  <a:ext uri="{FF2B5EF4-FFF2-40B4-BE49-F238E27FC236}">
                    <a16:creationId xmlns:a16="http://schemas.microsoft.com/office/drawing/2014/main" id="{730D1AB7-7181-4FD8-A924-9AFB731B834F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îṩļïdê">
                <a:extLst>
                  <a:ext uri="{FF2B5EF4-FFF2-40B4-BE49-F238E27FC236}">
                    <a16:creationId xmlns:a16="http://schemas.microsoft.com/office/drawing/2014/main" id="{DD750A71-B266-4493-BB94-2A3DB893621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śļiḋé">
                <a:extLst>
                  <a:ext uri="{FF2B5EF4-FFF2-40B4-BE49-F238E27FC236}">
                    <a16:creationId xmlns:a16="http://schemas.microsoft.com/office/drawing/2014/main" id="{13D21F53-5CEF-443C-A4DA-2FEB9C95A471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íṩḷíḑe">
                <a:extLst>
                  <a:ext uri="{FF2B5EF4-FFF2-40B4-BE49-F238E27FC236}">
                    <a16:creationId xmlns:a16="http://schemas.microsoft.com/office/drawing/2014/main" id="{0F1CEC88-039E-48F8-832E-2238284FB1A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ṧļiḓé">
                <a:extLst>
                  <a:ext uri="{FF2B5EF4-FFF2-40B4-BE49-F238E27FC236}">
                    <a16:creationId xmlns:a16="http://schemas.microsoft.com/office/drawing/2014/main" id="{E90146A6-7804-407C-AEC6-0B81EEFCAF6E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Slïḍè">
                <a:extLst>
                  <a:ext uri="{FF2B5EF4-FFF2-40B4-BE49-F238E27FC236}">
                    <a16:creationId xmlns:a16="http://schemas.microsoft.com/office/drawing/2014/main" id="{44AC6217-551F-413C-AE59-9500B1B2036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3" name="íšlíḍé">
                <a:extLst>
                  <a:ext uri="{FF2B5EF4-FFF2-40B4-BE49-F238E27FC236}">
                    <a16:creationId xmlns:a16="http://schemas.microsoft.com/office/drawing/2014/main" id="{BD1004DF-F7C8-489C-9860-E02ABC1E94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ḻidè">
                <a:extLst>
                  <a:ext uri="{FF2B5EF4-FFF2-40B4-BE49-F238E27FC236}">
                    <a16:creationId xmlns:a16="http://schemas.microsoft.com/office/drawing/2014/main" id="{5C0ABEEF-C80B-4328-B97F-45A97818619D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ḷide">
                <a:extLst>
                  <a:ext uri="{FF2B5EF4-FFF2-40B4-BE49-F238E27FC236}">
                    <a16:creationId xmlns:a16="http://schemas.microsoft.com/office/drawing/2014/main" id="{A42388AA-45FE-435C-9892-C565170E96C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ḷïḍé">
                <a:extLst>
                  <a:ext uri="{FF2B5EF4-FFF2-40B4-BE49-F238E27FC236}">
                    <a16:creationId xmlns:a16="http://schemas.microsoft.com/office/drawing/2014/main" id="{2A14E0B6-EDF6-4127-B492-06B91A754820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ṡḷïde">
                <a:extLst>
                  <a:ext uri="{FF2B5EF4-FFF2-40B4-BE49-F238E27FC236}">
                    <a16:creationId xmlns:a16="http://schemas.microsoft.com/office/drawing/2014/main" id="{EF802D0D-499C-47A6-A1B0-3961FF9051E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ṩḷiďè">
                <a:extLst>
                  <a:ext uri="{FF2B5EF4-FFF2-40B4-BE49-F238E27FC236}">
                    <a16:creationId xmlns:a16="http://schemas.microsoft.com/office/drawing/2014/main" id="{74AE230F-AC3D-4A53-AE8A-7E18101501CD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1iḓê">
                <a:extLst>
                  <a:ext uri="{FF2B5EF4-FFF2-40B4-BE49-F238E27FC236}">
                    <a16:creationId xmlns:a16="http://schemas.microsoft.com/office/drawing/2014/main" id="{AC26B1B2-172F-4767-81DD-D5E79A272EB9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ṡlïḓè">
              <a:extLst>
                <a:ext uri="{FF2B5EF4-FFF2-40B4-BE49-F238E27FC236}">
                  <a16:creationId xmlns:a16="http://schemas.microsoft.com/office/drawing/2014/main" id="{3A123B05-5123-4065-A6F1-D94F4C54EA7A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iSḷiḋé">
                <a:extLst>
                  <a:ext uri="{FF2B5EF4-FFF2-40B4-BE49-F238E27FC236}">
                    <a16:creationId xmlns:a16="http://schemas.microsoft.com/office/drawing/2014/main" id="{CA21DADE-6C88-4DE0-921E-9D7880634D2E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ṥḻiḑé">
                <a:extLst>
                  <a:ext uri="{FF2B5EF4-FFF2-40B4-BE49-F238E27FC236}">
                    <a16:creationId xmlns:a16="http://schemas.microsoft.com/office/drawing/2014/main" id="{94C141F2-8A22-4CE3-A217-7A04BA6BE59D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ṡľîḑe">
                <a:extLst>
                  <a:ext uri="{FF2B5EF4-FFF2-40B4-BE49-F238E27FC236}">
                    <a16:creationId xmlns:a16="http://schemas.microsoft.com/office/drawing/2014/main" id="{BCB653DF-DBBB-42DE-A7CD-7FDFF4B8C197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ṧḷïḑé">
                <a:extLst>
                  <a:ext uri="{FF2B5EF4-FFF2-40B4-BE49-F238E27FC236}">
                    <a16:creationId xmlns:a16="http://schemas.microsoft.com/office/drawing/2014/main" id="{BA2BC783-0B6A-46E0-912C-80F52E3D9723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ṧ1íḓê">
                <a:extLst>
                  <a:ext uri="{FF2B5EF4-FFF2-40B4-BE49-F238E27FC236}">
                    <a16:creationId xmlns:a16="http://schemas.microsoft.com/office/drawing/2014/main" id="{686DF4BA-E100-46AD-AC23-D067EED6D087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lïḓè">
                <a:extLst>
                  <a:ext uri="{FF2B5EF4-FFF2-40B4-BE49-F238E27FC236}">
                    <a16:creationId xmlns:a16="http://schemas.microsoft.com/office/drawing/2014/main" id="{EB2B06D5-E044-4959-83C6-891C600B5A5C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B5351CA5-66BA-4D67-9DEE-CDF81A876F0F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ïṩ1ïdé">
                <a:extLst>
                  <a:ext uri="{FF2B5EF4-FFF2-40B4-BE49-F238E27FC236}">
                    <a16:creationId xmlns:a16="http://schemas.microsoft.com/office/drawing/2014/main" id="{E50CD631-F237-444C-8970-66AE986F222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iṥḷíḍé">
                <a:extLst>
                  <a:ext uri="{FF2B5EF4-FFF2-40B4-BE49-F238E27FC236}">
                    <a16:creationId xmlns:a16="http://schemas.microsoft.com/office/drawing/2014/main" id="{96FBC146-AB38-454E-88F0-C42C58B6692B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şḷ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/>
          <p:cNvSpPr>
            <a:spLocks noGrp="1"/>
          </p:cNvSpPr>
          <p:nvPr>
            <p:ph type="ctrTitle"/>
          </p:nvPr>
        </p:nvSpPr>
        <p:spPr>
          <a:xfrm>
            <a:off x="607995" y="1461444"/>
            <a:ext cx="8070466" cy="2574000"/>
          </a:xfrm>
        </p:spPr>
        <p:txBody>
          <a:bodyPr/>
          <a:lstStyle/>
          <a:p>
            <a:pPr algn="l" fontAlgn="b" latinLnBrk="0">
              <a:lnSpc>
                <a:spcPct val="100000"/>
              </a:lnSpc>
            </a:pPr>
            <a:r>
              <a:rPr lang="zh-CN" altLang="en-US" dirty="0"/>
              <a:t>第四题（交通控制灯）</a:t>
            </a:r>
            <a:br>
              <a:rPr lang="en-US" altLang="zh-CN" b="0" dirty="0"/>
            </a:b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6D999B1-E646-419F-B85A-911FDDC3E535}"/>
              </a:ext>
            </a:extLst>
          </p:cNvPr>
          <p:cNvSpPr txBox="1"/>
          <p:nvPr/>
        </p:nvSpPr>
        <p:spPr>
          <a:xfrm>
            <a:off x="750276" y="4196862"/>
            <a:ext cx="4196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>
                <a:solidFill>
                  <a:schemeClr val="accent3">
                    <a:lumMod val="50000"/>
                  </a:schemeClr>
                </a:solidFill>
                <a:latin typeface="Eras Bold ITC" panose="020B0907030504020204" pitchFamily="34" charset="0"/>
              </a:rPr>
              <a:t>第八组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0E6D9BA-F3AE-406D-A712-07942A656A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" t="8295" b="1868"/>
          <a:stretch/>
        </p:blipFill>
        <p:spPr>
          <a:xfrm>
            <a:off x="669924" y="1220367"/>
            <a:ext cx="9329529" cy="373263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F363682-EEA1-4A4A-BE26-9F24433625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44" y="4982817"/>
            <a:ext cx="11027266" cy="15341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10986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E4FBE5E-3363-4C57-87D2-06A1A76F6556}"/>
              </a:ext>
            </a:extLst>
          </p:cNvPr>
          <p:cNvSpPr txBox="1"/>
          <p:nvPr/>
        </p:nvSpPr>
        <p:spPr>
          <a:xfrm>
            <a:off x="627042" y="331577"/>
            <a:ext cx="16082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dirty="0"/>
              <a:t>东西黄灯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11EE26B-A950-4EC9-BB33-108B07157E02}"/>
              </a:ext>
            </a:extLst>
          </p:cNvPr>
          <p:cNvSpPr txBox="1"/>
          <p:nvPr/>
        </p:nvSpPr>
        <p:spPr>
          <a:xfrm>
            <a:off x="5132233" y="2526103"/>
            <a:ext cx="52722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/>
              <a:t>Z</a:t>
            </a:r>
            <a:r>
              <a:rPr lang="zh-CN" altLang="en-US" sz="2800" b="1"/>
              <a:t>（</a:t>
            </a:r>
            <a:r>
              <a:rPr lang="en-US" altLang="zh-CN" sz="2800" b="1"/>
              <a:t>yellow</a:t>
            </a:r>
            <a:r>
              <a:rPr lang="zh-CN" altLang="en-US" sz="2800" b="1"/>
              <a:t>）</a:t>
            </a:r>
            <a:r>
              <a:rPr lang="en-US" altLang="zh-CN" sz="2800" b="1"/>
              <a:t>=  Q3'Q2Q1</a:t>
            </a:r>
            <a:endParaRPr lang="en-US" altLang="zh-CN" sz="2800" b="1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1B11D56-ACE2-4987-8712-863923D5C0C5}"/>
              </a:ext>
            </a:extLst>
          </p:cNvPr>
          <p:cNvSpPr txBox="1"/>
          <p:nvPr/>
        </p:nvSpPr>
        <p:spPr>
          <a:xfrm>
            <a:off x="5132232" y="3364858"/>
            <a:ext cx="62230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/>
              <a:t>LOAD</a:t>
            </a:r>
            <a:r>
              <a:rPr lang="zh-CN" altLang="en-US" sz="2800" b="1"/>
              <a:t>（</a:t>
            </a:r>
            <a:r>
              <a:rPr lang="en-US" altLang="zh-CN" sz="2800" b="1"/>
              <a:t> yellow </a:t>
            </a:r>
            <a:r>
              <a:rPr lang="zh-CN" altLang="en-US" sz="2800" b="1"/>
              <a:t>）</a:t>
            </a:r>
            <a:r>
              <a:rPr lang="en-US" altLang="zh-CN" sz="2800" b="1"/>
              <a:t>=Q3Q2Q1</a:t>
            </a:r>
            <a:endParaRPr lang="zh-CN" altLang="en-US" sz="2800" dirty="0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DCEF3AF0-2AF7-4A70-880C-94DC3358DB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676292"/>
              </p:ext>
            </p:extLst>
          </p:nvPr>
        </p:nvGraphicFramePr>
        <p:xfrm>
          <a:off x="2440639" y="767335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7903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03903F69-6FE8-46B0-BCBD-EDC0C27CCECE}"/>
              </a:ext>
            </a:extLst>
          </p:cNvPr>
          <p:cNvCxnSpPr/>
          <p:nvPr/>
        </p:nvCxnSpPr>
        <p:spPr>
          <a:xfrm>
            <a:off x="3524238" y="6613862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53F0106-FB17-411E-A808-8A817F758829}"/>
              </a:ext>
            </a:extLst>
          </p:cNvPr>
          <p:cNvCxnSpPr>
            <a:cxnSpLocks/>
          </p:cNvCxnSpPr>
          <p:nvPr/>
        </p:nvCxnSpPr>
        <p:spPr>
          <a:xfrm flipV="1">
            <a:off x="4361365" y="1328292"/>
            <a:ext cx="0" cy="528557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C4071AE6-3D31-4AC3-959A-AF4F0F8235DF}"/>
              </a:ext>
            </a:extLst>
          </p:cNvPr>
          <p:cNvCxnSpPr/>
          <p:nvPr/>
        </p:nvCxnSpPr>
        <p:spPr>
          <a:xfrm flipH="1">
            <a:off x="3524238" y="1328292"/>
            <a:ext cx="83712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52592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8ACD79F-AE6B-41FC-A555-1FD119B673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91" y="5022574"/>
            <a:ext cx="8792732" cy="143597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19E702F8-C023-45C8-90A9-E30FA7F0C1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9" t="3729" r="1660" b="6687"/>
          <a:stretch/>
        </p:blipFill>
        <p:spPr>
          <a:xfrm>
            <a:off x="549966" y="1085842"/>
            <a:ext cx="9408523" cy="39367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3119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4404DB3B-74CA-471F-A6DE-27739B6125BB}"/>
              </a:ext>
            </a:extLst>
          </p:cNvPr>
          <p:cNvSpPr txBox="1"/>
          <p:nvPr/>
        </p:nvSpPr>
        <p:spPr>
          <a:xfrm>
            <a:off x="578684" y="327993"/>
            <a:ext cx="18078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dirty="0"/>
              <a:t>南北红灯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AE61B272-4600-41EA-B900-32D6D0E49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788365"/>
              </p:ext>
            </p:extLst>
          </p:nvPr>
        </p:nvGraphicFramePr>
        <p:xfrm>
          <a:off x="2386556" y="835920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0114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3EA719EF-A5BC-4C17-AED2-F6A914B8EB92}"/>
              </a:ext>
            </a:extLst>
          </p:cNvPr>
          <p:cNvCxnSpPr/>
          <p:nvPr/>
        </p:nvCxnSpPr>
        <p:spPr>
          <a:xfrm>
            <a:off x="3470155" y="6682447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12144A69-F596-4EE3-A4DC-763FF9B048DD}"/>
              </a:ext>
            </a:extLst>
          </p:cNvPr>
          <p:cNvCxnSpPr>
            <a:cxnSpLocks/>
          </p:cNvCxnSpPr>
          <p:nvPr/>
        </p:nvCxnSpPr>
        <p:spPr>
          <a:xfrm flipV="1">
            <a:off x="4307282" y="1396877"/>
            <a:ext cx="0" cy="528557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2389EA8E-FEE1-4B3D-81E8-F3AA146A12CE}"/>
              </a:ext>
            </a:extLst>
          </p:cNvPr>
          <p:cNvCxnSpPr/>
          <p:nvPr/>
        </p:nvCxnSpPr>
        <p:spPr>
          <a:xfrm flipH="1">
            <a:off x="3470155" y="1396877"/>
            <a:ext cx="83712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00A39454-0764-44DC-ACC2-570E7FD57C5A}"/>
              </a:ext>
            </a:extLst>
          </p:cNvPr>
          <p:cNvSpPr txBox="1"/>
          <p:nvPr/>
        </p:nvSpPr>
        <p:spPr>
          <a:xfrm>
            <a:off x="5318802" y="3515375"/>
            <a:ext cx="45836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LOAD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 red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Q3Q2Q1</a:t>
            </a:r>
            <a:endParaRPr lang="zh-CN" altLang="en-US" sz="28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B46A1F4-DCDD-4597-877E-84B9518B8107}"/>
              </a:ext>
            </a:extLst>
          </p:cNvPr>
          <p:cNvSpPr txBox="1"/>
          <p:nvPr/>
        </p:nvSpPr>
        <p:spPr>
          <a:xfrm>
            <a:off x="5318802" y="2597538"/>
            <a:ext cx="60949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Z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red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  Q3'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448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E609CE29-5C32-4D43-8995-852E18BE1C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622" y="4744278"/>
            <a:ext cx="9009283" cy="173379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23C2955-2649-4C8B-9A3E-AC7807D0175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0" t="3722" r="1583" b="6493"/>
          <a:stretch/>
        </p:blipFill>
        <p:spPr>
          <a:xfrm>
            <a:off x="302654" y="1110079"/>
            <a:ext cx="7708285" cy="34972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076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529A7D67-95B5-413F-B642-8E4E4FBB2735}"/>
              </a:ext>
            </a:extLst>
          </p:cNvPr>
          <p:cNvSpPr txBox="1"/>
          <p:nvPr/>
        </p:nvSpPr>
        <p:spPr>
          <a:xfrm>
            <a:off x="5361512" y="3271421"/>
            <a:ext cx="48882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LOAD</a:t>
            </a:r>
            <a:r>
              <a:rPr lang="zh-CN" altLang="en-US" sz="2800" b="1" dirty="0"/>
              <a:t>（</a:t>
            </a:r>
            <a:r>
              <a:rPr lang="en-US" altLang="zh-CN" b="1" dirty="0"/>
              <a:t> </a:t>
            </a:r>
            <a:r>
              <a:rPr lang="en-US" altLang="zh-CN" sz="2800" b="1" dirty="0"/>
              <a:t>green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Q3Q2Q1</a:t>
            </a:r>
            <a:endParaRPr lang="zh-CN" altLang="en-US" sz="2800" b="1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28E0D26-9DC8-4F0F-A7B3-E2CDFC4CEE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184968"/>
              </p:ext>
            </p:extLst>
          </p:nvPr>
        </p:nvGraphicFramePr>
        <p:xfrm>
          <a:off x="2512730" y="782589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0114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2F8B3B59-749E-46F5-95F0-41CB6DA25071}"/>
              </a:ext>
            </a:extLst>
          </p:cNvPr>
          <p:cNvCxnSpPr/>
          <p:nvPr/>
        </p:nvCxnSpPr>
        <p:spPr>
          <a:xfrm>
            <a:off x="3457977" y="6627113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566B7F46-E1BB-47F9-92BE-12DC9792F72A}"/>
              </a:ext>
            </a:extLst>
          </p:cNvPr>
          <p:cNvCxnSpPr>
            <a:cxnSpLocks/>
          </p:cNvCxnSpPr>
          <p:nvPr/>
        </p:nvCxnSpPr>
        <p:spPr>
          <a:xfrm flipV="1">
            <a:off x="4295104" y="1341543"/>
            <a:ext cx="0" cy="528557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37F2BEEA-936F-46DD-A978-E4379294A2D6}"/>
              </a:ext>
            </a:extLst>
          </p:cNvPr>
          <p:cNvCxnSpPr/>
          <p:nvPr/>
        </p:nvCxnSpPr>
        <p:spPr>
          <a:xfrm flipH="1">
            <a:off x="3457977" y="1341543"/>
            <a:ext cx="83712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9A2749FA-E81F-44EA-B576-5DB69BBD8F5A}"/>
              </a:ext>
            </a:extLst>
          </p:cNvPr>
          <p:cNvSpPr txBox="1"/>
          <p:nvPr/>
        </p:nvSpPr>
        <p:spPr>
          <a:xfrm>
            <a:off x="679101" y="259369"/>
            <a:ext cx="183362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dirty="0"/>
              <a:t>南北绿灯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E0EFE7-5F3D-4AA3-8915-67274C55DED1}"/>
              </a:ext>
            </a:extLst>
          </p:cNvPr>
          <p:cNvSpPr txBox="1"/>
          <p:nvPr/>
        </p:nvSpPr>
        <p:spPr>
          <a:xfrm>
            <a:off x="5255566" y="2301843"/>
            <a:ext cx="535600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Z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green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  Q3Q2'+Q3Q1'Q0'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51661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690231BE-1062-4B3F-90BA-C1D7805473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591" y="4843669"/>
            <a:ext cx="9609742" cy="18628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8D1D54DA-DDCA-4B59-B81F-24B0D8719A0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2"/>
          <a:stretch/>
        </p:blipFill>
        <p:spPr>
          <a:xfrm>
            <a:off x="300975" y="1194136"/>
            <a:ext cx="8577981" cy="33816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41303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C62ECD3E-7F09-473F-9963-F5D1D67BB932}"/>
              </a:ext>
            </a:extLst>
          </p:cNvPr>
          <p:cNvSpPr txBox="1"/>
          <p:nvPr/>
        </p:nvSpPr>
        <p:spPr>
          <a:xfrm>
            <a:off x="5433479" y="3797401"/>
            <a:ext cx="49989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LOAD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 yellow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Q3Q2Q1</a:t>
            </a:r>
            <a:endParaRPr lang="zh-CN" altLang="en-US" sz="2800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489536C-C80E-4E66-B365-F47C77A051CE}"/>
              </a:ext>
            </a:extLst>
          </p:cNvPr>
          <p:cNvSpPr txBox="1"/>
          <p:nvPr/>
        </p:nvSpPr>
        <p:spPr>
          <a:xfrm>
            <a:off x="829805" y="370823"/>
            <a:ext cx="164688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dirty="0"/>
              <a:t>南北黄灯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C867BF3-B94D-4481-A045-A26E89952910}"/>
              </a:ext>
            </a:extLst>
          </p:cNvPr>
          <p:cNvSpPr txBox="1"/>
          <p:nvPr/>
        </p:nvSpPr>
        <p:spPr>
          <a:xfrm>
            <a:off x="5340409" y="2686155"/>
            <a:ext cx="621244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Z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 yellow 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  Q3Q2Q1'Q0+Q3Q2Q1Q0'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10543EAF-BD99-4685-9206-20DE6E452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924469"/>
              </p:ext>
            </p:extLst>
          </p:nvPr>
        </p:nvGraphicFramePr>
        <p:xfrm>
          <a:off x="2476690" y="835920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0114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9949065F-06AB-4F73-B77D-89E43E80C969}"/>
              </a:ext>
            </a:extLst>
          </p:cNvPr>
          <p:cNvCxnSpPr/>
          <p:nvPr/>
        </p:nvCxnSpPr>
        <p:spPr>
          <a:xfrm>
            <a:off x="3421937" y="6680444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D71BDB3-2562-4A4E-99C6-6F22EE96C0CF}"/>
              </a:ext>
            </a:extLst>
          </p:cNvPr>
          <p:cNvCxnSpPr>
            <a:cxnSpLocks/>
          </p:cNvCxnSpPr>
          <p:nvPr/>
        </p:nvCxnSpPr>
        <p:spPr>
          <a:xfrm flipV="1">
            <a:off x="4259064" y="1394874"/>
            <a:ext cx="0" cy="528557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87F104C0-A97B-4450-8E13-E2CCCA7CD947}"/>
              </a:ext>
            </a:extLst>
          </p:cNvPr>
          <p:cNvCxnSpPr/>
          <p:nvPr/>
        </p:nvCxnSpPr>
        <p:spPr>
          <a:xfrm flipH="1">
            <a:off x="3421937" y="1394874"/>
            <a:ext cx="83712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43884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6177EA84-1F1B-42EF-B485-6FB7DA56EA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19" y="4481010"/>
            <a:ext cx="9352530" cy="217092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85535D08-7E41-434E-84D9-ECB284DEC4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87" y="1264286"/>
            <a:ext cx="9144424" cy="31288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99698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ṧļí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śľîḓ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śļíḑ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ṡḻïḓê"/>
          <p:cNvSpPr>
            <a:spLocks noGrp="1"/>
          </p:cNvSpPr>
          <p:nvPr>
            <p:ph type="ctrTitle"/>
          </p:nvPr>
        </p:nvSpPr>
        <p:spPr>
          <a:xfrm>
            <a:off x="673100" y="2371548"/>
            <a:ext cx="10845798" cy="1621509"/>
          </a:xfrm>
        </p:spPr>
        <p:txBody>
          <a:bodyPr>
            <a:normAutofit fontScale="90000"/>
          </a:bodyPr>
          <a:lstStyle/>
          <a:p>
            <a:r>
              <a:rPr lang="en-US" altLang="zh-CN" sz="8000" dirty="0">
                <a:solidFill>
                  <a:schemeClr val="accent3"/>
                </a:solidFill>
              </a:rPr>
              <a:t>THANKS</a:t>
            </a:r>
            <a:br>
              <a:rPr lang="en-US" altLang="zh-CN" dirty="0">
                <a:solidFill>
                  <a:schemeClr val="accent3"/>
                </a:solidFill>
              </a:rPr>
            </a:br>
            <a:endParaRPr lang="zh-CN" altLang="en-US" dirty="0">
              <a:solidFill>
                <a:schemeClr val="accent3"/>
              </a:solidFill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íŝḷiḋé">
            <a:extLst>
              <a:ext uri="{FF2B5EF4-FFF2-40B4-BE49-F238E27FC236}">
                <a16:creationId xmlns:a16="http://schemas.microsoft.com/office/drawing/2014/main" id="{3C2F0F09-3D89-4747-B4CE-A26FC1A26CB8}"/>
              </a:ext>
            </a:extLst>
          </p:cNvPr>
          <p:cNvGrpSpPr/>
          <p:nvPr/>
        </p:nvGrpSpPr>
        <p:grpSpPr>
          <a:xfrm>
            <a:off x="47143" y="4026879"/>
            <a:ext cx="12130525" cy="2137152"/>
            <a:chOff x="35399" y="4466341"/>
            <a:chExt cx="9108601" cy="1604749"/>
          </a:xfrm>
        </p:grpSpPr>
        <p:sp>
          <p:nvSpPr>
            <p:cNvPr id="46" name="ïŝľîďe">
              <a:extLst>
                <a:ext uri="{FF2B5EF4-FFF2-40B4-BE49-F238E27FC236}">
                  <a16:creationId xmlns:a16="http://schemas.microsoft.com/office/drawing/2014/main" id="{5515AA1C-2DC3-48F3-AAA3-A8B5EFE49FE1}"/>
                </a:ext>
              </a:extLst>
            </p:cNvPr>
            <p:cNvSpPr/>
            <p:nvPr/>
          </p:nvSpPr>
          <p:spPr bwMode="auto">
            <a:xfrm>
              <a:off x="772875" y="4678733"/>
              <a:ext cx="4359944" cy="1392352"/>
            </a:xfrm>
            <a:custGeom>
              <a:avLst/>
              <a:gdLst>
                <a:gd name="T0" fmla="*/ 1027 w 1478"/>
                <a:gd name="T1" fmla="*/ 471 h 473"/>
                <a:gd name="T2" fmla="*/ 972 w 1478"/>
                <a:gd name="T3" fmla="*/ 473 h 473"/>
                <a:gd name="T4" fmla="*/ 970 w 1478"/>
                <a:gd name="T5" fmla="*/ 473 h 473"/>
                <a:gd name="T6" fmla="*/ 995 w 1478"/>
                <a:gd name="T7" fmla="*/ 117 h 473"/>
                <a:gd name="T8" fmla="*/ 996 w 1478"/>
                <a:gd name="T9" fmla="*/ 105 h 473"/>
                <a:gd name="T10" fmla="*/ 1006 w 1478"/>
                <a:gd name="T11" fmla="*/ 117 h 473"/>
                <a:gd name="T12" fmla="*/ 1010 w 1478"/>
                <a:gd name="T13" fmla="*/ 471 h 473"/>
                <a:gd name="T14" fmla="*/ 1461 w 1478"/>
                <a:gd name="T15" fmla="*/ 105 h 473"/>
                <a:gd name="T16" fmla="*/ 1465 w 1478"/>
                <a:gd name="T17" fmla="*/ 105 h 473"/>
                <a:gd name="T18" fmla="*/ 1475 w 1478"/>
                <a:gd name="T19" fmla="*/ 155 h 473"/>
                <a:gd name="T20" fmla="*/ 1478 w 1478"/>
                <a:gd name="T21" fmla="*/ 473 h 473"/>
                <a:gd name="T22" fmla="*/ 1465 w 1478"/>
                <a:gd name="T23" fmla="*/ 473 h 473"/>
                <a:gd name="T24" fmla="*/ 1423 w 1478"/>
                <a:gd name="T25" fmla="*/ 473 h 473"/>
                <a:gd name="T26" fmla="*/ 1415 w 1478"/>
                <a:gd name="T27" fmla="*/ 207 h 473"/>
                <a:gd name="T28" fmla="*/ 1423 w 1478"/>
                <a:gd name="T29" fmla="*/ 155 h 473"/>
                <a:gd name="T30" fmla="*/ 1427 w 1478"/>
                <a:gd name="T31" fmla="*/ 105 h 473"/>
                <a:gd name="T32" fmla="*/ 1442 w 1478"/>
                <a:gd name="T33" fmla="*/ 23 h 473"/>
                <a:gd name="T34" fmla="*/ 1461 w 1478"/>
                <a:gd name="T35" fmla="*/ 105 h 473"/>
                <a:gd name="T36" fmla="*/ 1285 w 1478"/>
                <a:gd name="T37" fmla="*/ 190 h 473"/>
                <a:gd name="T38" fmla="*/ 1335 w 1478"/>
                <a:gd name="T39" fmla="*/ 473 h 473"/>
                <a:gd name="T40" fmla="*/ 1285 w 1478"/>
                <a:gd name="T41" fmla="*/ 190 h 473"/>
                <a:gd name="T42" fmla="*/ 1176 w 1478"/>
                <a:gd name="T43" fmla="*/ 243 h 473"/>
                <a:gd name="T44" fmla="*/ 1216 w 1478"/>
                <a:gd name="T45" fmla="*/ 473 h 473"/>
                <a:gd name="T46" fmla="*/ 1176 w 1478"/>
                <a:gd name="T47" fmla="*/ 243 h 473"/>
                <a:gd name="T48" fmla="*/ 1083 w 1478"/>
                <a:gd name="T49" fmla="*/ 167 h 473"/>
                <a:gd name="T50" fmla="*/ 1125 w 1478"/>
                <a:gd name="T51" fmla="*/ 473 h 473"/>
                <a:gd name="T52" fmla="*/ 1083 w 1478"/>
                <a:gd name="T53" fmla="*/ 167 h 473"/>
                <a:gd name="T54" fmla="*/ 849 w 1478"/>
                <a:gd name="T55" fmla="*/ 295 h 473"/>
                <a:gd name="T56" fmla="*/ 884 w 1478"/>
                <a:gd name="T57" fmla="*/ 473 h 473"/>
                <a:gd name="T58" fmla="*/ 849 w 1478"/>
                <a:gd name="T59" fmla="*/ 295 h 473"/>
                <a:gd name="T60" fmla="*/ 631 w 1478"/>
                <a:gd name="T61" fmla="*/ 373 h 473"/>
                <a:gd name="T62" fmla="*/ 643 w 1478"/>
                <a:gd name="T63" fmla="*/ 318 h 473"/>
                <a:gd name="T64" fmla="*/ 667 w 1478"/>
                <a:gd name="T65" fmla="*/ 306 h 473"/>
                <a:gd name="T66" fmla="*/ 702 w 1478"/>
                <a:gd name="T67" fmla="*/ 234 h 473"/>
                <a:gd name="T68" fmla="*/ 723 w 1478"/>
                <a:gd name="T69" fmla="*/ 306 h 473"/>
                <a:gd name="T70" fmla="*/ 702 w 1478"/>
                <a:gd name="T71" fmla="*/ 473 h 473"/>
                <a:gd name="T72" fmla="*/ 687 w 1478"/>
                <a:gd name="T73" fmla="*/ 473 h 473"/>
                <a:gd name="T74" fmla="*/ 643 w 1478"/>
                <a:gd name="T75" fmla="*/ 473 h 473"/>
                <a:gd name="T76" fmla="*/ 631 w 1478"/>
                <a:gd name="T77" fmla="*/ 373 h 473"/>
                <a:gd name="T78" fmla="*/ 581 w 1478"/>
                <a:gd name="T79" fmla="*/ 255 h 473"/>
                <a:gd name="T80" fmla="*/ 623 w 1478"/>
                <a:gd name="T81" fmla="*/ 473 h 473"/>
                <a:gd name="T82" fmla="*/ 581 w 1478"/>
                <a:gd name="T83" fmla="*/ 255 h 473"/>
                <a:gd name="T84" fmla="*/ 532 w 1478"/>
                <a:gd name="T85" fmla="*/ 314 h 473"/>
                <a:gd name="T86" fmla="*/ 557 w 1478"/>
                <a:gd name="T87" fmla="*/ 356 h 473"/>
                <a:gd name="T88" fmla="*/ 532 w 1478"/>
                <a:gd name="T89" fmla="*/ 473 h 473"/>
                <a:gd name="T90" fmla="*/ 455 w 1478"/>
                <a:gd name="T91" fmla="*/ 473 h 473"/>
                <a:gd name="T92" fmla="*/ 455 w 1478"/>
                <a:gd name="T93" fmla="*/ 302 h 473"/>
                <a:gd name="T94" fmla="*/ 488 w 1478"/>
                <a:gd name="T95" fmla="*/ 356 h 473"/>
                <a:gd name="T96" fmla="*/ 532 w 1478"/>
                <a:gd name="T97" fmla="*/ 314 h 473"/>
                <a:gd name="T98" fmla="*/ 360 w 1478"/>
                <a:gd name="T99" fmla="*/ 293 h 473"/>
                <a:gd name="T100" fmla="*/ 426 w 1478"/>
                <a:gd name="T101" fmla="*/ 473 h 473"/>
                <a:gd name="T102" fmla="*/ 360 w 1478"/>
                <a:gd name="T103" fmla="*/ 293 h 473"/>
                <a:gd name="T104" fmla="*/ 287 w 1478"/>
                <a:gd name="T105" fmla="*/ 209 h 473"/>
                <a:gd name="T106" fmla="*/ 350 w 1478"/>
                <a:gd name="T107" fmla="*/ 473 h 473"/>
                <a:gd name="T108" fmla="*/ 287 w 1478"/>
                <a:gd name="T109" fmla="*/ 209 h 473"/>
                <a:gd name="T110" fmla="*/ 195 w 1478"/>
                <a:gd name="T111" fmla="*/ 184 h 473"/>
                <a:gd name="T112" fmla="*/ 241 w 1478"/>
                <a:gd name="T113" fmla="*/ 473 h 473"/>
                <a:gd name="T114" fmla="*/ 195 w 1478"/>
                <a:gd name="T115" fmla="*/ 184 h 473"/>
                <a:gd name="T116" fmla="*/ 31 w 1478"/>
                <a:gd name="T117" fmla="*/ 264 h 473"/>
                <a:gd name="T118" fmla="*/ 92 w 1478"/>
                <a:gd name="T119" fmla="*/ 473 h 473"/>
                <a:gd name="T120" fmla="*/ 31 w 1478"/>
                <a:gd name="T121" fmla="*/ 473 h 473"/>
                <a:gd name="T122" fmla="*/ 0 w 1478"/>
                <a:gd name="T123" fmla="*/ 331 h 473"/>
                <a:gd name="T124" fmla="*/ 31 w 1478"/>
                <a:gd name="T125" fmla="*/ 26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8" h="473">
                  <a:moveTo>
                    <a:pt x="1010" y="471"/>
                  </a:moveTo>
                  <a:lnTo>
                    <a:pt x="1027" y="471"/>
                  </a:lnTo>
                  <a:lnTo>
                    <a:pt x="1027" y="473"/>
                  </a:lnTo>
                  <a:lnTo>
                    <a:pt x="972" y="473"/>
                  </a:lnTo>
                  <a:lnTo>
                    <a:pt x="972" y="473"/>
                  </a:lnTo>
                  <a:lnTo>
                    <a:pt x="970" y="473"/>
                  </a:lnTo>
                  <a:lnTo>
                    <a:pt x="970" y="117"/>
                  </a:lnTo>
                  <a:lnTo>
                    <a:pt x="995" y="117"/>
                  </a:lnTo>
                  <a:lnTo>
                    <a:pt x="996" y="75"/>
                  </a:lnTo>
                  <a:lnTo>
                    <a:pt x="996" y="105"/>
                  </a:lnTo>
                  <a:lnTo>
                    <a:pt x="1002" y="105"/>
                  </a:lnTo>
                  <a:lnTo>
                    <a:pt x="1006" y="117"/>
                  </a:lnTo>
                  <a:lnTo>
                    <a:pt x="1010" y="117"/>
                  </a:lnTo>
                  <a:lnTo>
                    <a:pt x="1010" y="471"/>
                  </a:lnTo>
                  <a:lnTo>
                    <a:pt x="1010" y="471"/>
                  </a:lnTo>
                  <a:close/>
                  <a:moveTo>
                    <a:pt x="1461" y="105"/>
                  </a:moveTo>
                  <a:lnTo>
                    <a:pt x="1463" y="0"/>
                  </a:lnTo>
                  <a:lnTo>
                    <a:pt x="1465" y="105"/>
                  </a:lnTo>
                  <a:lnTo>
                    <a:pt x="1475" y="105"/>
                  </a:lnTo>
                  <a:lnTo>
                    <a:pt x="1475" y="155"/>
                  </a:lnTo>
                  <a:lnTo>
                    <a:pt x="1478" y="155"/>
                  </a:lnTo>
                  <a:lnTo>
                    <a:pt x="1478" y="473"/>
                  </a:lnTo>
                  <a:lnTo>
                    <a:pt x="1475" y="473"/>
                  </a:lnTo>
                  <a:lnTo>
                    <a:pt x="1465" y="473"/>
                  </a:lnTo>
                  <a:lnTo>
                    <a:pt x="1427" y="473"/>
                  </a:lnTo>
                  <a:lnTo>
                    <a:pt x="1423" y="473"/>
                  </a:lnTo>
                  <a:lnTo>
                    <a:pt x="1415" y="473"/>
                  </a:lnTo>
                  <a:lnTo>
                    <a:pt x="1415" y="207"/>
                  </a:lnTo>
                  <a:lnTo>
                    <a:pt x="1423" y="207"/>
                  </a:lnTo>
                  <a:lnTo>
                    <a:pt x="1423" y="155"/>
                  </a:lnTo>
                  <a:lnTo>
                    <a:pt x="1427" y="155"/>
                  </a:lnTo>
                  <a:lnTo>
                    <a:pt x="1427" y="105"/>
                  </a:lnTo>
                  <a:lnTo>
                    <a:pt x="1440" y="105"/>
                  </a:lnTo>
                  <a:lnTo>
                    <a:pt x="1442" y="23"/>
                  </a:lnTo>
                  <a:lnTo>
                    <a:pt x="1444" y="105"/>
                  </a:lnTo>
                  <a:lnTo>
                    <a:pt x="1461" y="105"/>
                  </a:lnTo>
                  <a:lnTo>
                    <a:pt x="1461" y="105"/>
                  </a:lnTo>
                  <a:close/>
                  <a:moveTo>
                    <a:pt x="1285" y="190"/>
                  </a:moveTo>
                  <a:lnTo>
                    <a:pt x="1335" y="190"/>
                  </a:lnTo>
                  <a:lnTo>
                    <a:pt x="1335" y="473"/>
                  </a:lnTo>
                  <a:lnTo>
                    <a:pt x="1285" y="473"/>
                  </a:lnTo>
                  <a:lnTo>
                    <a:pt x="1285" y="190"/>
                  </a:lnTo>
                  <a:lnTo>
                    <a:pt x="1285" y="190"/>
                  </a:lnTo>
                  <a:close/>
                  <a:moveTo>
                    <a:pt x="1176" y="243"/>
                  </a:moveTo>
                  <a:lnTo>
                    <a:pt x="1216" y="243"/>
                  </a:lnTo>
                  <a:lnTo>
                    <a:pt x="1216" y="473"/>
                  </a:lnTo>
                  <a:lnTo>
                    <a:pt x="1176" y="473"/>
                  </a:lnTo>
                  <a:lnTo>
                    <a:pt x="1176" y="243"/>
                  </a:lnTo>
                  <a:lnTo>
                    <a:pt x="1176" y="243"/>
                  </a:lnTo>
                  <a:close/>
                  <a:moveTo>
                    <a:pt x="1083" y="167"/>
                  </a:moveTo>
                  <a:lnTo>
                    <a:pt x="1125" y="167"/>
                  </a:lnTo>
                  <a:lnTo>
                    <a:pt x="1125" y="473"/>
                  </a:lnTo>
                  <a:lnTo>
                    <a:pt x="1083" y="473"/>
                  </a:lnTo>
                  <a:lnTo>
                    <a:pt x="1083" y="167"/>
                  </a:lnTo>
                  <a:lnTo>
                    <a:pt x="1083" y="167"/>
                  </a:lnTo>
                  <a:close/>
                  <a:moveTo>
                    <a:pt x="849" y="295"/>
                  </a:moveTo>
                  <a:lnTo>
                    <a:pt x="884" y="295"/>
                  </a:lnTo>
                  <a:lnTo>
                    <a:pt x="884" y="473"/>
                  </a:lnTo>
                  <a:lnTo>
                    <a:pt x="849" y="473"/>
                  </a:lnTo>
                  <a:lnTo>
                    <a:pt x="849" y="295"/>
                  </a:lnTo>
                  <a:lnTo>
                    <a:pt x="849" y="295"/>
                  </a:lnTo>
                  <a:close/>
                  <a:moveTo>
                    <a:pt x="631" y="373"/>
                  </a:moveTo>
                  <a:lnTo>
                    <a:pt x="643" y="373"/>
                  </a:lnTo>
                  <a:lnTo>
                    <a:pt x="643" y="318"/>
                  </a:lnTo>
                  <a:lnTo>
                    <a:pt x="667" y="318"/>
                  </a:lnTo>
                  <a:lnTo>
                    <a:pt x="667" y="306"/>
                  </a:lnTo>
                  <a:lnTo>
                    <a:pt x="667" y="234"/>
                  </a:lnTo>
                  <a:lnTo>
                    <a:pt x="702" y="234"/>
                  </a:lnTo>
                  <a:lnTo>
                    <a:pt x="702" y="306"/>
                  </a:lnTo>
                  <a:lnTo>
                    <a:pt x="723" y="306"/>
                  </a:lnTo>
                  <a:lnTo>
                    <a:pt x="723" y="473"/>
                  </a:lnTo>
                  <a:lnTo>
                    <a:pt x="702" y="473"/>
                  </a:lnTo>
                  <a:lnTo>
                    <a:pt x="698" y="473"/>
                  </a:lnTo>
                  <a:lnTo>
                    <a:pt x="687" y="473"/>
                  </a:lnTo>
                  <a:lnTo>
                    <a:pt x="667" y="473"/>
                  </a:lnTo>
                  <a:lnTo>
                    <a:pt x="643" y="473"/>
                  </a:lnTo>
                  <a:lnTo>
                    <a:pt x="631" y="473"/>
                  </a:lnTo>
                  <a:lnTo>
                    <a:pt x="631" y="373"/>
                  </a:lnTo>
                  <a:lnTo>
                    <a:pt x="631" y="373"/>
                  </a:lnTo>
                  <a:close/>
                  <a:moveTo>
                    <a:pt x="581" y="255"/>
                  </a:moveTo>
                  <a:lnTo>
                    <a:pt x="623" y="255"/>
                  </a:lnTo>
                  <a:lnTo>
                    <a:pt x="623" y="473"/>
                  </a:lnTo>
                  <a:lnTo>
                    <a:pt x="581" y="473"/>
                  </a:lnTo>
                  <a:lnTo>
                    <a:pt x="581" y="255"/>
                  </a:lnTo>
                  <a:lnTo>
                    <a:pt x="581" y="255"/>
                  </a:lnTo>
                  <a:close/>
                  <a:moveTo>
                    <a:pt x="532" y="314"/>
                  </a:moveTo>
                  <a:lnTo>
                    <a:pt x="557" y="314"/>
                  </a:lnTo>
                  <a:lnTo>
                    <a:pt x="557" y="356"/>
                  </a:lnTo>
                  <a:lnTo>
                    <a:pt x="557" y="473"/>
                  </a:lnTo>
                  <a:lnTo>
                    <a:pt x="532" y="473"/>
                  </a:lnTo>
                  <a:lnTo>
                    <a:pt x="488" y="473"/>
                  </a:lnTo>
                  <a:lnTo>
                    <a:pt x="455" y="473"/>
                  </a:lnTo>
                  <a:lnTo>
                    <a:pt x="455" y="356"/>
                  </a:lnTo>
                  <a:lnTo>
                    <a:pt x="455" y="302"/>
                  </a:lnTo>
                  <a:lnTo>
                    <a:pt x="488" y="302"/>
                  </a:lnTo>
                  <a:lnTo>
                    <a:pt x="488" y="356"/>
                  </a:lnTo>
                  <a:lnTo>
                    <a:pt x="532" y="356"/>
                  </a:lnTo>
                  <a:lnTo>
                    <a:pt x="532" y="314"/>
                  </a:lnTo>
                  <a:lnTo>
                    <a:pt x="532" y="314"/>
                  </a:lnTo>
                  <a:close/>
                  <a:moveTo>
                    <a:pt x="360" y="293"/>
                  </a:moveTo>
                  <a:lnTo>
                    <a:pt x="426" y="293"/>
                  </a:lnTo>
                  <a:lnTo>
                    <a:pt x="426" y="473"/>
                  </a:lnTo>
                  <a:lnTo>
                    <a:pt x="360" y="473"/>
                  </a:lnTo>
                  <a:lnTo>
                    <a:pt x="360" y="293"/>
                  </a:lnTo>
                  <a:lnTo>
                    <a:pt x="360" y="293"/>
                  </a:lnTo>
                  <a:close/>
                  <a:moveTo>
                    <a:pt x="287" y="209"/>
                  </a:moveTo>
                  <a:lnTo>
                    <a:pt x="350" y="209"/>
                  </a:lnTo>
                  <a:lnTo>
                    <a:pt x="350" y="473"/>
                  </a:lnTo>
                  <a:lnTo>
                    <a:pt x="287" y="473"/>
                  </a:lnTo>
                  <a:lnTo>
                    <a:pt x="287" y="209"/>
                  </a:lnTo>
                  <a:lnTo>
                    <a:pt x="287" y="209"/>
                  </a:lnTo>
                  <a:close/>
                  <a:moveTo>
                    <a:pt x="195" y="184"/>
                  </a:moveTo>
                  <a:lnTo>
                    <a:pt x="241" y="184"/>
                  </a:lnTo>
                  <a:lnTo>
                    <a:pt x="241" y="473"/>
                  </a:lnTo>
                  <a:lnTo>
                    <a:pt x="195" y="473"/>
                  </a:lnTo>
                  <a:lnTo>
                    <a:pt x="195" y="184"/>
                  </a:lnTo>
                  <a:lnTo>
                    <a:pt x="195" y="184"/>
                  </a:lnTo>
                  <a:close/>
                  <a:moveTo>
                    <a:pt x="31" y="264"/>
                  </a:moveTo>
                  <a:lnTo>
                    <a:pt x="92" y="264"/>
                  </a:lnTo>
                  <a:lnTo>
                    <a:pt x="92" y="473"/>
                  </a:lnTo>
                  <a:lnTo>
                    <a:pt x="61" y="473"/>
                  </a:lnTo>
                  <a:lnTo>
                    <a:pt x="31" y="473"/>
                  </a:lnTo>
                  <a:lnTo>
                    <a:pt x="0" y="473"/>
                  </a:lnTo>
                  <a:lnTo>
                    <a:pt x="0" y="331"/>
                  </a:lnTo>
                  <a:lnTo>
                    <a:pt x="31" y="331"/>
                  </a:lnTo>
                  <a:lnTo>
                    <a:pt x="31" y="264"/>
                  </a:lnTo>
                  <a:lnTo>
                    <a:pt x="31" y="264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7" name="iṥḷîḋè">
              <a:extLst>
                <a:ext uri="{FF2B5EF4-FFF2-40B4-BE49-F238E27FC236}">
                  <a16:creationId xmlns:a16="http://schemas.microsoft.com/office/drawing/2014/main" id="{A1BD0CB9-AFD6-4C34-AC3A-6867B4D04C6B}"/>
                </a:ext>
              </a:extLst>
            </p:cNvPr>
            <p:cNvSpPr/>
            <p:nvPr/>
          </p:nvSpPr>
          <p:spPr bwMode="auto">
            <a:xfrm>
              <a:off x="117996" y="5321000"/>
              <a:ext cx="5994189" cy="750090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8" name="íŝ1idê">
              <a:extLst>
                <a:ext uri="{FF2B5EF4-FFF2-40B4-BE49-F238E27FC236}">
                  <a16:creationId xmlns:a16="http://schemas.microsoft.com/office/drawing/2014/main" id="{AFB1A53B-FFAB-47AF-889D-C3B05877E954}"/>
                </a:ext>
              </a:extLst>
            </p:cNvPr>
            <p:cNvSpPr/>
            <p:nvPr/>
          </p:nvSpPr>
          <p:spPr bwMode="auto">
            <a:xfrm>
              <a:off x="430686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9" name="îṣlîḓe">
              <a:extLst>
                <a:ext uri="{FF2B5EF4-FFF2-40B4-BE49-F238E27FC236}">
                  <a16:creationId xmlns:a16="http://schemas.microsoft.com/office/drawing/2014/main" id="{478B3644-8B28-457C-8A31-82C95B98C0FF}"/>
                </a:ext>
              </a:extLst>
            </p:cNvPr>
            <p:cNvSpPr/>
            <p:nvPr/>
          </p:nvSpPr>
          <p:spPr bwMode="auto">
            <a:xfrm>
              <a:off x="908568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0" name="íṡľíḑe">
              <a:extLst>
                <a:ext uri="{FF2B5EF4-FFF2-40B4-BE49-F238E27FC236}">
                  <a16:creationId xmlns:a16="http://schemas.microsoft.com/office/drawing/2014/main" id="{0451BE8B-B154-44C5-9F7F-97335D8E2709}"/>
                </a:ext>
              </a:extLst>
            </p:cNvPr>
            <p:cNvSpPr/>
            <p:nvPr/>
          </p:nvSpPr>
          <p:spPr bwMode="auto">
            <a:xfrm>
              <a:off x="2041328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51" name="ïṧļiḍê">
              <a:extLst>
                <a:ext uri="{FF2B5EF4-FFF2-40B4-BE49-F238E27FC236}">
                  <a16:creationId xmlns:a16="http://schemas.microsoft.com/office/drawing/2014/main" id="{5EAB7128-2F95-4242-8708-20B8191D9ED1}"/>
                </a:ext>
              </a:extLst>
            </p:cNvPr>
            <p:cNvSpPr/>
            <p:nvPr/>
          </p:nvSpPr>
          <p:spPr bwMode="auto">
            <a:xfrm>
              <a:off x="2118028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52" name="iṧḷíḋê">
              <a:extLst>
                <a:ext uri="{FF2B5EF4-FFF2-40B4-BE49-F238E27FC236}">
                  <a16:creationId xmlns:a16="http://schemas.microsoft.com/office/drawing/2014/main" id="{BE25D3AD-5DD4-4899-ADC2-8D25A6DDA7DD}"/>
                </a:ext>
              </a:extLst>
            </p:cNvPr>
            <p:cNvSpPr/>
            <p:nvPr/>
          </p:nvSpPr>
          <p:spPr bwMode="auto">
            <a:xfrm>
              <a:off x="2348117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3" name="ísliḋê">
              <a:extLst>
                <a:ext uri="{FF2B5EF4-FFF2-40B4-BE49-F238E27FC236}">
                  <a16:creationId xmlns:a16="http://schemas.microsoft.com/office/drawing/2014/main" id="{48EB2826-58D0-4186-A407-95C5511A2ACF}"/>
                </a:ext>
              </a:extLst>
            </p:cNvPr>
            <p:cNvSpPr/>
            <p:nvPr/>
          </p:nvSpPr>
          <p:spPr bwMode="auto">
            <a:xfrm>
              <a:off x="2660808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54" name="í$ļïḍé">
              <a:extLst>
                <a:ext uri="{FF2B5EF4-FFF2-40B4-BE49-F238E27FC236}">
                  <a16:creationId xmlns:a16="http://schemas.microsoft.com/office/drawing/2014/main" id="{65F1EDAA-7573-46B3-8596-949648FA58AA}"/>
                </a:ext>
              </a:extLst>
            </p:cNvPr>
            <p:cNvSpPr/>
            <p:nvPr/>
          </p:nvSpPr>
          <p:spPr bwMode="auto">
            <a:xfrm>
              <a:off x="2796502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55" name="íṡ1íḍé">
              <a:extLst>
                <a:ext uri="{FF2B5EF4-FFF2-40B4-BE49-F238E27FC236}">
                  <a16:creationId xmlns:a16="http://schemas.microsoft.com/office/drawing/2014/main" id="{FBD4DC72-288A-4CB5-A58C-3F52C2B52941}"/>
                </a:ext>
              </a:extLst>
            </p:cNvPr>
            <p:cNvSpPr/>
            <p:nvPr/>
          </p:nvSpPr>
          <p:spPr bwMode="auto">
            <a:xfrm>
              <a:off x="3421880" y="5610901"/>
              <a:ext cx="147494" cy="442486"/>
            </a:xfrm>
            <a:custGeom>
              <a:avLst/>
              <a:gdLst>
                <a:gd name="T0" fmla="*/ 9 w 50"/>
                <a:gd name="T1" fmla="*/ 23 h 149"/>
                <a:gd name="T2" fmla="*/ 13 w 50"/>
                <a:gd name="T3" fmla="*/ 23 h 149"/>
                <a:gd name="T4" fmla="*/ 23 w 50"/>
                <a:gd name="T5" fmla="*/ 0 h 149"/>
                <a:gd name="T6" fmla="*/ 29 w 50"/>
                <a:gd name="T7" fmla="*/ 0 h 149"/>
                <a:gd name="T8" fmla="*/ 36 w 50"/>
                <a:gd name="T9" fmla="*/ 23 h 149"/>
                <a:gd name="T10" fmla="*/ 42 w 50"/>
                <a:gd name="T11" fmla="*/ 23 h 149"/>
                <a:gd name="T12" fmla="*/ 42 w 50"/>
                <a:gd name="T13" fmla="*/ 36 h 149"/>
                <a:gd name="T14" fmla="*/ 44 w 50"/>
                <a:gd name="T15" fmla="*/ 42 h 149"/>
                <a:gd name="T16" fmla="*/ 50 w 50"/>
                <a:gd name="T17" fmla="*/ 42 h 149"/>
                <a:gd name="T18" fmla="*/ 50 w 50"/>
                <a:gd name="T19" fmla="*/ 149 h 149"/>
                <a:gd name="T20" fmla="*/ 0 w 50"/>
                <a:gd name="T21" fmla="*/ 149 h 149"/>
                <a:gd name="T22" fmla="*/ 0 w 50"/>
                <a:gd name="T23" fmla="*/ 42 h 149"/>
                <a:gd name="T24" fmla="*/ 8 w 50"/>
                <a:gd name="T25" fmla="*/ 42 h 149"/>
                <a:gd name="T26" fmla="*/ 9 w 50"/>
                <a:gd name="T27" fmla="*/ 36 h 149"/>
                <a:gd name="T28" fmla="*/ 9 w 50"/>
                <a:gd name="T29" fmla="*/ 23 h 149"/>
                <a:gd name="T30" fmla="*/ 9 w 50"/>
                <a:gd name="T31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49">
                  <a:moveTo>
                    <a:pt x="9" y="23"/>
                  </a:moveTo>
                  <a:lnTo>
                    <a:pt x="13" y="23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2" y="36"/>
                  </a:lnTo>
                  <a:lnTo>
                    <a:pt x="44" y="42"/>
                  </a:lnTo>
                  <a:lnTo>
                    <a:pt x="50" y="42"/>
                  </a:lnTo>
                  <a:lnTo>
                    <a:pt x="50" y="149"/>
                  </a:lnTo>
                  <a:lnTo>
                    <a:pt x="0" y="149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9" y="36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6" name="îšḻîḑé">
              <a:extLst>
                <a:ext uri="{FF2B5EF4-FFF2-40B4-BE49-F238E27FC236}">
                  <a16:creationId xmlns:a16="http://schemas.microsoft.com/office/drawing/2014/main" id="{73817D13-5E29-4F10-856A-8C57F0B15AC6}"/>
                </a:ext>
              </a:extLst>
            </p:cNvPr>
            <p:cNvSpPr/>
            <p:nvPr/>
          </p:nvSpPr>
          <p:spPr bwMode="auto">
            <a:xfrm>
              <a:off x="3646071" y="5964889"/>
              <a:ext cx="82597" cy="88498"/>
            </a:xfrm>
            <a:custGeom>
              <a:avLst/>
              <a:gdLst>
                <a:gd name="T0" fmla="*/ 0 w 28"/>
                <a:gd name="T1" fmla="*/ 0 h 31"/>
                <a:gd name="T2" fmla="*/ 28 w 28"/>
                <a:gd name="T3" fmla="*/ 0 h 31"/>
                <a:gd name="T4" fmla="*/ 28 w 28"/>
                <a:gd name="T5" fmla="*/ 31 h 31"/>
                <a:gd name="T6" fmla="*/ 0 w 28"/>
                <a:gd name="T7" fmla="*/ 31 h 31"/>
                <a:gd name="T8" fmla="*/ 0 w 28"/>
                <a:gd name="T9" fmla="*/ 0 h 31"/>
                <a:gd name="T10" fmla="*/ 0 w 2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28" y="0"/>
                  </a:lnTo>
                  <a:lnTo>
                    <a:pt x="2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57" name="ïṡľíḋè">
              <a:extLst>
                <a:ext uri="{FF2B5EF4-FFF2-40B4-BE49-F238E27FC236}">
                  <a16:creationId xmlns:a16="http://schemas.microsoft.com/office/drawing/2014/main" id="{6924BB50-5EA0-4859-9C0E-AF77DC34CA30}"/>
                </a:ext>
              </a:extLst>
            </p:cNvPr>
            <p:cNvSpPr/>
            <p:nvPr/>
          </p:nvSpPr>
          <p:spPr bwMode="auto">
            <a:xfrm>
              <a:off x="3675572" y="5021475"/>
              <a:ext cx="778773" cy="1031913"/>
            </a:xfrm>
            <a:custGeom>
              <a:avLst/>
              <a:gdLst>
                <a:gd name="T0" fmla="*/ 124 w 266"/>
                <a:gd name="T1" fmla="*/ 0 h 476"/>
                <a:gd name="T2" fmla="*/ 203 w 266"/>
                <a:gd name="T3" fmla="*/ 0 h 476"/>
                <a:gd name="T4" fmla="*/ 203 w 266"/>
                <a:gd name="T5" fmla="*/ 5 h 476"/>
                <a:gd name="T6" fmla="*/ 209 w 266"/>
                <a:gd name="T7" fmla="*/ 5 h 476"/>
                <a:gd name="T8" fmla="*/ 209 w 266"/>
                <a:gd name="T9" fmla="*/ 9 h 476"/>
                <a:gd name="T10" fmla="*/ 214 w 266"/>
                <a:gd name="T11" fmla="*/ 9 h 476"/>
                <a:gd name="T12" fmla="*/ 214 w 266"/>
                <a:gd name="T13" fmla="*/ 17 h 476"/>
                <a:gd name="T14" fmla="*/ 222 w 266"/>
                <a:gd name="T15" fmla="*/ 17 h 476"/>
                <a:gd name="T16" fmla="*/ 222 w 266"/>
                <a:gd name="T17" fmla="*/ 430 h 476"/>
                <a:gd name="T18" fmla="*/ 230 w 266"/>
                <a:gd name="T19" fmla="*/ 430 h 476"/>
                <a:gd name="T20" fmla="*/ 230 w 266"/>
                <a:gd name="T21" fmla="*/ 453 h 476"/>
                <a:gd name="T22" fmla="*/ 230 w 266"/>
                <a:gd name="T23" fmla="*/ 462 h 476"/>
                <a:gd name="T24" fmla="*/ 266 w 266"/>
                <a:gd name="T25" fmla="*/ 462 h 476"/>
                <a:gd name="T26" fmla="*/ 266 w 266"/>
                <a:gd name="T27" fmla="*/ 476 h 476"/>
                <a:gd name="T28" fmla="*/ 230 w 266"/>
                <a:gd name="T29" fmla="*/ 476 h 476"/>
                <a:gd name="T30" fmla="*/ 222 w 266"/>
                <a:gd name="T31" fmla="*/ 476 h 476"/>
                <a:gd name="T32" fmla="*/ 199 w 266"/>
                <a:gd name="T33" fmla="*/ 476 h 476"/>
                <a:gd name="T34" fmla="*/ 124 w 266"/>
                <a:gd name="T35" fmla="*/ 476 h 476"/>
                <a:gd name="T36" fmla="*/ 48 w 266"/>
                <a:gd name="T37" fmla="*/ 476 h 476"/>
                <a:gd name="T38" fmla="*/ 0 w 266"/>
                <a:gd name="T39" fmla="*/ 476 h 476"/>
                <a:gd name="T40" fmla="*/ 0 w 266"/>
                <a:gd name="T41" fmla="*/ 453 h 476"/>
                <a:gd name="T42" fmla="*/ 0 w 266"/>
                <a:gd name="T43" fmla="*/ 411 h 476"/>
                <a:gd name="T44" fmla="*/ 10 w 266"/>
                <a:gd name="T45" fmla="*/ 411 h 476"/>
                <a:gd name="T46" fmla="*/ 10 w 266"/>
                <a:gd name="T47" fmla="*/ 166 h 476"/>
                <a:gd name="T48" fmla="*/ 17 w 266"/>
                <a:gd name="T49" fmla="*/ 166 h 476"/>
                <a:gd name="T50" fmla="*/ 17 w 266"/>
                <a:gd name="T51" fmla="*/ 155 h 476"/>
                <a:gd name="T52" fmla="*/ 23 w 266"/>
                <a:gd name="T53" fmla="*/ 155 h 476"/>
                <a:gd name="T54" fmla="*/ 23 w 266"/>
                <a:gd name="T55" fmla="*/ 143 h 476"/>
                <a:gd name="T56" fmla="*/ 25 w 266"/>
                <a:gd name="T57" fmla="*/ 143 h 476"/>
                <a:gd name="T58" fmla="*/ 44 w 266"/>
                <a:gd name="T59" fmla="*/ 111 h 476"/>
                <a:gd name="T60" fmla="*/ 46 w 266"/>
                <a:gd name="T61" fmla="*/ 111 h 476"/>
                <a:gd name="T62" fmla="*/ 48 w 266"/>
                <a:gd name="T63" fmla="*/ 111 h 476"/>
                <a:gd name="T64" fmla="*/ 48 w 266"/>
                <a:gd name="T65" fmla="*/ 76 h 476"/>
                <a:gd name="T66" fmla="*/ 50 w 266"/>
                <a:gd name="T67" fmla="*/ 76 h 476"/>
                <a:gd name="T68" fmla="*/ 50 w 266"/>
                <a:gd name="T69" fmla="*/ 113 h 476"/>
                <a:gd name="T70" fmla="*/ 69 w 266"/>
                <a:gd name="T71" fmla="*/ 143 h 476"/>
                <a:gd name="T72" fmla="*/ 71 w 266"/>
                <a:gd name="T73" fmla="*/ 143 h 476"/>
                <a:gd name="T74" fmla="*/ 71 w 266"/>
                <a:gd name="T75" fmla="*/ 155 h 476"/>
                <a:gd name="T76" fmla="*/ 75 w 266"/>
                <a:gd name="T77" fmla="*/ 155 h 476"/>
                <a:gd name="T78" fmla="*/ 75 w 266"/>
                <a:gd name="T79" fmla="*/ 166 h 476"/>
                <a:gd name="T80" fmla="*/ 82 w 266"/>
                <a:gd name="T81" fmla="*/ 166 h 476"/>
                <a:gd name="T82" fmla="*/ 82 w 266"/>
                <a:gd name="T83" fmla="*/ 453 h 476"/>
                <a:gd name="T84" fmla="*/ 124 w 266"/>
                <a:gd name="T85" fmla="*/ 453 h 476"/>
                <a:gd name="T86" fmla="*/ 124 w 266"/>
                <a:gd name="T87" fmla="*/ 23 h 476"/>
                <a:gd name="T88" fmla="*/ 124 w 266"/>
                <a:gd name="T89" fmla="*/ 17 h 476"/>
                <a:gd name="T90" fmla="*/ 124 w 266"/>
                <a:gd name="T91" fmla="*/ 17 h 476"/>
                <a:gd name="T92" fmla="*/ 124 w 266"/>
                <a:gd name="T93" fmla="*/ 11 h 476"/>
                <a:gd name="T94" fmla="*/ 124 w 266"/>
                <a:gd name="T95" fmla="*/ 9 h 476"/>
                <a:gd name="T96" fmla="*/ 124 w 266"/>
                <a:gd name="T97" fmla="*/ 5 h 476"/>
                <a:gd name="T98" fmla="*/ 124 w 266"/>
                <a:gd name="T99" fmla="*/ 0 h 476"/>
                <a:gd name="T100" fmla="*/ 124 w 266"/>
                <a:gd name="T101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476">
                  <a:moveTo>
                    <a:pt x="124" y="0"/>
                  </a:moveTo>
                  <a:lnTo>
                    <a:pt x="203" y="0"/>
                  </a:lnTo>
                  <a:lnTo>
                    <a:pt x="203" y="5"/>
                  </a:lnTo>
                  <a:lnTo>
                    <a:pt x="209" y="5"/>
                  </a:lnTo>
                  <a:lnTo>
                    <a:pt x="209" y="9"/>
                  </a:lnTo>
                  <a:lnTo>
                    <a:pt x="214" y="9"/>
                  </a:lnTo>
                  <a:lnTo>
                    <a:pt x="214" y="17"/>
                  </a:lnTo>
                  <a:lnTo>
                    <a:pt x="222" y="17"/>
                  </a:lnTo>
                  <a:lnTo>
                    <a:pt x="222" y="430"/>
                  </a:lnTo>
                  <a:lnTo>
                    <a:pt x="230" y="430"/>
                  </a:lnTo>
                  <a:lnTo>
                    <a:pt x="230" y="453"/>
                  </a:lnTo>
                  <a:lnTo>
                    <a:pt x="230" y="462"/>
                  </a:lnTo>
                  <a:lnTo>
                    <a:pt x="266" y="462"/>
                  </a:lnTo>
                  <a:lnTo>
                    <a:pt x="266" y="476"/>
                  </a:lnTo>
                  <a:lnTo>
                    <a:pt x="230" y="476"/>
                  </a:lnTo>
                  <a:lnTo>
                    <a:pt x="222" y="476"/>
                  </a:lnTo>
                  <a:lnTo>
                    <a:pt x="199" y="476"/>
                  </a:lnTo>
                  <a:lnTo>
                    <a:pt x="124" y="476"/>
                  </a:lnTo>
                  <a:lnTo>
                    <a:pt x="48" y="476"/>
                  </a:lnTo>
                  <a:lnTo>
                    <a:pt x="0" y="476"/>
                  </a:lnTo>
                  <a:lnTo>
                    <a:pt x="0" y="453"/>
                  </a:lnTo>
                  <a:lnTo>
                    <a:pt x="0" y="411"/>
                  </a:lnTo>
                  <a:lnTo>
                    <a:pt x="10" y="411"/>
                  </a:lnTo>
                  <a:lnTo>
                    <a:pt x="10" y="166"/>
                  </a:lnTo>
                  <a:lnTo>
                    <a:pt x="17" y="166"/>
                  </a:lnTo>
                  <a:lnTo>
                    <a:pt x="17" y="155"/>
                  </a:lnTo>
                  <a:lnTo>
                    <a:pt x="23" y="15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11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55"/>
                  </a:lnTo>
                  <a:lnTo>
                    <a:pt x="75" y="155"/>
                  </a:lnTo>
                  <a:lnTo>
                    <a:pt x="75" y="166"/>
                  </a:lnTo>
                  <a:lnTo>
                    <a:pt x="82" y="166"/>
                  </a:lnTo>
                  <a:lnTo>
                    <a:pt x="82" y="453"/>
                  </a:lnTo>
                  <a:lnTo>
                    <a:pt x="124" y="453"/>
                  </a:lnTo>
                  <a:lnTo>
                    <a:pt x="124" y="2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8" name="í$ľíḋé">
              <a:extLst>
                <a:ext uri="{FF2B5EF4-FFF2-40B4-BE49-F238E27FC236}">
                  <a16:creationId xmlns:a16="http://schemas.microsoft.com/office/drawing/2014/main" id="{CB7E5D8B-CAA8-47BB-A70B-FB104F9E36BC}"/>
                </a:ext>
              </a:extLst>
            </p:cNvPr>
            <p:cNvSpPr/>
            <p:nvPr/>
          </p:nvSpPr>
          <p:spPr bwMode="auto">
            <a:xfrm>
              <a:off x="4383548" y="5622700"/>
              <a:ext cx="306789" cy="430687"/>
            </a:xfrm>
            <a:custGeom>
              <a:avLst/>
              <a:gdLst>
                <a:gd name="T0" fmla="*/ 48 w 103"/>
                <a:gd name="T1" fmla="*/ 112 h 145"/>
                <a:gd name="T2" fmla="*/ 103 w 103"/>
                <a:gd name="T3" fmla="*/ 112 h 145"/>
                <a:gd name="T4" fmla="*/ 103 w 103"/>
                <a:gd name="T5" fmla="*/ 145 h 145"/>
                <a:gd name="T6" fmla="*/ 48 w 103"/>
                <a:gd name="T7" fmla="*/ 145 h 145"/>
                <a:gd name="T8" fmla="*/ 23 w 103"/>
                <a:gd name="T9" fmla="*/ 145 h 145"/>
                <a:gd name="T10" fmla="*/ 0 w 103"/>
                <a:gd name="T11" fmla="*/ 145 h 145"/>
                <a:gd name="T12" fmla="*/ 0 w 103"/>
                <a:gd name="T13" fmla="*/ 11 h 145"/>
                <a:gd name="T14" fmla="*/ 6 w 103"/>
                <a:gd name="T15" fmla="*/ 11 h 145"/>
                <a:gd name="T16" fmla="*/ 6 w 103"/>
                <a:gd name="T17" fmla="*/ 0 h 145"/>
                <a:gd name="T18" fmla="*/ 34 w 103"/>
                <a:gd name="T19" fmla="*/ 0 h 145"/>
                <a:gd name="T20" fmla="*/ 34 w 103"/>
                <a:gd name="T21" fmla="*/ 11 h 145"/>
                <a:gd name="T22" fmla="*/ 48 w 103"/>
                <a:gd name="T23" fmla="*/ 11 h 145"/>
                <a:gd name="T24" fmla="*/ 48 w 103"/>
                <a:gd name="T25" fmla="*/ 112 h 145"/>
                <a:gd name="T26" fmla="*/ 48 w 103"/>
                <a:gd name="T27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145">
                  <a:moveTo>
                    <a:pt x="48" y="112"/>
                  </a:moveTo>
                  <a:lnTo>
                    <a:pt x="103" y="112"/>
                  </a:lnTo>
                  <a:lnTo>
                    <a:pt x="103" y="145"/>
                  </a:lnTo>
                  <a:lnTo>
                    <a:pt x="48" y="145"/>
                  </a:lnTo>
                  <a:lnTo>
                    <a:pt x="23" y="145"/>
                  </a:lnTo>
                  <a:lnTo>
                    <a:pt x="0" y="145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48" y="11"/>
                  </a:lnTo>
                  <a:lnTo>
                    <a:pt x="48" y="112"/>
                  </a:lnTo>
                  <a:lnTo>
                    <a:pt x="48" y="112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9" name="ïS1îďè">
              <a:extLst>
                <a:ext uri="{FF2B5EF4-FFF2-40B4-BE49-F238E27FC236}">
                  <a16:creationId xmlns:a16="http://schemas.microsoft.com/office/drawing/2014/main" id="{A62F3E6A-3172-4A4A-AF38-4CBB29951510}"/>
                </a:ext>
              </a:extLst>
            </p:cNvPr>
            <p:cNvSpPr/>
            <p:nvPr/>
          </p:nvSpPr>
          <p:spPr bwMode="auto">
            <a:xfrm>
              <a:off x="4908627" y="5634500"/>
              <a:ext cx="365788" cy="418888"/>
            </a:xfrm>
            <a:custGeom>
              <a:avLst/>
              <a:gdLst>
                <a:gd name="T0" fmla="*/ 0 w 124"/>
                <a:gd name="T1" fmla="*/ 0 h 142"/>
                <a:gd name="T2" fmla="*/ 124 w 124"/>
                <a:gd name="T3" fmla="*/ 0 h 142"/>
                <a:gd name="T4" fmla="*/ 124 w 124"/>
                <a:gd name="T5" fmla="*/ 142 h 142"/>
                <a:gd name="T6" fmla="*/ 0 w 124"/>
                <a:gd name="T7" fmla="*/ 142 h 142"/>
                <a:gd name="T8" fmla="*/ 0 w 124"/>
                <a:gd name="T9" fmla="*/ 0 h 142"/>
                <a:gd name="T10" fmla="*/ 0 w 124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2">
                  <a:moveTo>
                    <a:pt x="0" y="0"/>
                  </a:moveTo>
                  <a:lnTo>
                    <a:pt x="124" y="0"/>
                  </a:lnTo>
                  <a:lnTo>
                    <a:pt x="124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0" name="îSliḓe">
              <a:extLst>
                <a:ext uri="{FF2B5EF4-FFF2-40B4-BE49-F238E27FC236}">
                  <a16:creationId xmlns:a16="http://schemas.microsoft.com/office/drawing/2014/main" id="{37D3A04D-1126-4611-8CEA-4E6FF1976274}"/>
                </a:ext>
              </a:extLst>
            </p:cNvPr>
            <p:cNvSpPr/>
            <p:nvPr/>
          </p:nvSpPr>
          <p:spPr bwMode="auto">
            <a:xfrm>
              <a:off x="5303915" y="5410309"/>
              <a:ext cx="873170" cy="643080"/>
            </a:xfrm>
            <a:custGeom>
              <a:avLst/>
              <a:gdLst>
                <a:gd name="T0" fmla="*/ 84 w 296"/>
                <a:gd name="T1" fmla="*/ 193 h 218"/>
                <a:gd name="T2" fmla="*/ 94 w 296"/>
                <a:gd name="T3" fmla="*/ 193 h 218"/>
                <a:gd name="T4" fmla="*/ 94 w 296"/>
                <a:gd name="T5" fmla="*/ 199 h 218"/>
                <a:gd name="T6" fmla="*/ 113 w 296"/>
                <a:gd name="T7" fmla="*/ 199 h 218"/>
                <a:gd name="T8" fmla="*/ 113 w 296"/>
                <a:gd name="T9" fmla="*/ 206 h 218"/>
                <a:gd name="T10" fmla="*/ 160 w 296"/>
                <a:gd name="T11" fmla="*/ 206 h 218"/>
                <a:gd name="T12" fmla="*/ 160 w 296"/>
                <a:gd name="T13" fmla="*/ 9 h 218"/>
                <a:gd name="T14" fmla="*/ 178 w 296"/>
                <a:gd name="T15" fmla="*/ 9 h 218"/>
                <a:gd name="T16" fmla="*/ 178 w 296"/>
                <a:gd name="T17" fmla="*/ 0 h 218"/>
                <a:gd name="T18" fmla="*/ 218 w 296"/>
                <a:gd name="T19" fmla="*/ 0 h 218"/>
                <a:gd name="T20" fmla="*/ 218 w 296"/>
                <a:gd name="T21" fmla="*/ 9 h 218"/>
                <a:gd name="T22" fmla="*/ 231 w 296"/>
                <a:gd name="T23" fmla="*/ 9 h 218"/>
                <a:gd name="T24" fmla="*/ 231 w 296"/>
                <a:gd name="T25" fmla="*/ 206 h 218"/>
                <a:gd name="T26" fmla="*/ 245 w 296"/>
                <a:gd name="T27" fmla="*/ 206 h 218"/>
                <a:gd name="T28" fmla="*/ 245 w 296"/>
                <a:gd name="T29" fmla="*/ 214 h 218"/>
                <a:gd name="T30" fmla="*/ 296 w 296"/>
                <a:gd name="T31" fmla="*/ 214 h 218"/>
                <a:gd name="T32" fmla="*/ 296 w 296"/>
                <a:gd name="T33" fmla="*/ 218 h 218"/>
                <a:gd name="T34" fmla="*/ 245 w 296"/>
                <a:gd name="T35" fmla="*/ 218 h 218"/>
                <a:gd name="T36" fmla="*/ 231 w 296"/>
                <a:gd name="T37" fmla="*/ 218 h 218"/>
                <a:gd name="T38" fmla="*/ 160 w 296"/>
                <a:gd name="T39" fmla="*/ 218 h 218"/>
                <a:gd name="T40" fmla="*/ 130 w 296"/>
                <a:gd name="T41" fmla="*/ 218 h 218"/>
                <a:gd name="T42" fmla="*/ 84 w 296"/>
                <a:gd name="T43" fmla="*/ 218 h 218"/>
                <a:gd name="T44" fmla="*/ 80 w 296"/>
                <a:gd name="T45" fmla="*/ 218 h 218"/>
                <a:gd name="T46" fmla="*/ 50 w 296"/>
                <a:gd name="T47" fmla="*/ 218 h 218"/>
                <a:gd name="T48" fmla="*/ 0 w 296"/>
                <a:gd name="T49" fmla="*/ 218 h 218"/>
                <a:gd name="T50" fmla="*/ 0 w 296"/>
                <a:gd name="T51" fmla="*/ 4 h 218"/>
                <a:gd name="T52" fmla="*/ 50 w 296"/>
                <a:gd name="T53" fmla="*/ 4 h 218"/>
                <a:gd name="T54" fmla="*/ 50 w 296"/>
                <a:gd name="T55" fmla="*/ 25 h 218"/>
                <a:gd name="T56" fmla="*/ 84 w 296"/>
                <a:gd name="T57" fmla="*/ 25 h 218"/>
                <a:gd name="T58" fmla="*/ 84 w 296"/>
                <a:gd name="T59" fmla="*/ 193 h 218"/>
                <a:gd name="T60" fmla="*/ 84 w 296"/>
                <a:gd name="T61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6" h="218">
                  <a:moveTo>
                    <a:pt x="84" y="193"/>
                  </a:moveTo>
                  <a:lnTo>
                    <a:pt x="94" y="193"/>
                  </a:lnTo>
                  <a:lnTo>
                    <a:pt x="94" y="199"/>
                  </a:lnTo>
                  <a:lnTo>
                    <a:pt x="113" y="199"/>
                  </a:lnTo>
                  <a:lnTo>
                    <a:pt x="113" y="206"/>
                  </a:lnTo>
                  <a:lnTo>
                    <a:pt x="160" y="206"/>
                  </a:lnTo>
                  <a:lnTo>
                    <a:pt x="160" y="9"/>
                  </a:lnTo>
                  <a:lnTo>
                    <a:pt x="178" y="9"/>
                  </a:lnTo>
                  <a:lnTo>
                    <a:pt x="178" y="0"/>
                  </a:lnTo>
                  <a:lnTo>
                    <a:pt x="218" y="0"/>
                  </a:lnTo>
                  <a:lnTo>
                    <a:pt x="218" y="9"/>
                  </a:lnTo>
                  <a:lnTo>
                    <a:pt x="231" y="9"/>
                  </a:lnTo>
                  <a:lnTo>
                    <a:pt x="231" y="206"/>
                  </a:lnTo>
                  <a:lnTo>
                    <a:pt x="245" y="206"/>
                  </a:lnTo>
                  <a:lnTo>
                    <a:pt x="245" y="214"/>
                  </a:lnTo>
                  <a:lnTo>
                    <a:pt x="296" y="214"/>
                  </a:lnTo>
                  <a:lnTo>
                    <a:pt x="296" y="218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160" y="218"/>
                  </a:lnTo>
                  <a:lnTo>
                    <a:pt x="130" y="218"/>
                  </a:lnTo>
                  <a:lnTo>
                    <a:pt x="84" y="218"/>
                  </a:lnTo>
                  <a:lnTo>
                    <a:pt x="80" y="218"/>
                  </a:lnTo>
                  <a:lnTo>
                    <a:pt x="50" y="218"/>
                  </a:lnTo>
                  <a:lnTo>
                    <a:pt x="0" y="218"/>
                  </a:lnTo>
                  <a:lnTo>
                    <a:pt x="0" y="4"/>
                  </a:lnTo>
                  <a:lnTo>
                    <a:pt x="50" y="4"/>
                  </a:lnTo>
                  <a:lnTo>
                    <a:pt x="50" y="25"/>
                  </a:lnTo>
                  <a:lnTo>
                    <a:pt x="84" y="25"/>
                  </a:lnTo>
                  <a:lnTo>
                    <a:pt x="84" y="193"/>
                  </a:lnTo>
                  <a:lnTo>
                    <a:pt x="84" y="19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1" name="ïṥliḓè">
              <a:extLst>
                <a:ext uri="{FF2B5EF4-FFF2-40B4-BE49-F238E27FC236}">
                  <a16:creationId xmlns:a16="http://schemas.microsoft.com/office/drawing/2014/main" id="{08B50FF2-1F8C-4F38-8CD5-6A5E3A29DB3D}"/>
                </a:ext>
              </a:extLst>
            </p:cNvPr>
            <p:cNvSpPr/>
            <p:nvPr/>
          </p:nvSpPr>
          <p:spPr bwMode="auto">
            <a:xfrm>
              <a:off x="35399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62" name="išľîḍê">
              <a:extLst>
                <a:ext uri="{FF2B5EF4-FFF2-40B4-BE49-F238E27FC236}">
                  <a16:creationId xmlns:a16="http://schemas.microsoft.com/office/drawing/2014/main" id="{DF3A36F1-234C-4840-B2CB-D861E9E32279}"/>
                </a:ext>
              </a:extLst>
            </p:cNvPr>
            <p:cNvSpPr/>
            <p:nvPr/>
          </p:nvSpPr>
          <p:spPr bwMode="auto">
            <a:xfrm>
              <a:off x="2796502" y="4887064"/>
              <a:ext cx="595877" cy="1166323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3" name="íşḻíḑe">
              <a:extLst>
                <a:ext uri="{FF2B5EF4-FFF2-40B4-BE49-F238E27FC236}">
                  <a16:creationId xmlns:a16="http://schemas.microsoft.com/office/drawing/2014/main" id="{BFAE3937-C439-4BFB-9922-5503F076A213}"/>
                </a:ext>
              </a:extLst>
            </p:cNvPr>
            <p:cNvSpPr/>
            <p:nvPr/>
          </p:nvSpPr>
          <p:spPr bwMode="auto">
            <a:xfrm>
              <a:off x="4708034" y="6006189"/>
              <a:ext cx="631276" cy="47199"/>
            </a:xfrm>
            <a:custGeom>
              <a:avLst/>
              <a:gdLst>
                <a:gd name="T0" fmla="*/ 0 w 212"/>
                <a:gd name="T1" fmla="*/ 0 h 15"/>
                <a:gd name="T2" fmla="*/ 212 w 212"/>
                <a:gd name="T3" fmla="*/ 0 h 15"/>
                <a:gd name="T4" fmla="*/ 212 w 212"/>
                <a:gd name="T5" fmla="*/ 15 h 15"/>
                <a:gd name="T6" fmla="*/ 0 w 212"/>
                <a:gd name="T7" fmla="*/ 15 h 15"/>
                <a:gd name="T8" fmla="*/ 0 w 212"/>
                <a:gd name="T9" fmla="*/ 0 h 15"/>
                <a:gd name="T10" fmla="*/ 0 w 21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5">
                  <a:moveTo>
                    <a:pt x="0" y="0"/>
                  </a:moveTo>
                  <a:lnTo>
                    <a:pt x="212" y="0"/>
                  </a:lnTo>
                  <a:lnTo>
                    <a:pt x="212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64" name="íS1íḑè">
              <a:extLst>
                <a:ext uri="{FF2B5EF4-FFF2-40B4-BE49-F238E27FC236}">
                  <a16:creationId xmlns:a16="http://schemas.microsoft.com/office/drawing/2014/main" id="{6DC3C403-CB50-4A12-95F9-52E4847B564D}"/>
                </a:ext>
              </a:extLst>
            </p:cNvPr>
            <p:cNvSpPr/>
            <p:nvPr/>
          </p:nvSpPr>
          <p:spPr bwMode="auto">
            <a:xfrm>
              <a:off x="6503219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5" name="îSḻîdé">
              <a:extLst>
                <a:ext uri="{FF2B5EF4-FFF2-40B4-BE49-F238E27FC236}">
                  <a16:creationId xmlns:a16="http://schemas.microsoft.com/office/drawing/2014/main" id="{BBBA07A8-6CCE-4612-812F-375CC4ADAAE4}"/>
                </a:ext>
              </a:extLst>
            </p:cNvPr>
            <p:cNvSpPr/>
            <p:nvPr/>
          </p:nvSpPr>
          <p:spPr bwMode="auto">
            <a:xfrm>
              <a:off x="6981101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6" name="iṧļíḍé">
              <a:extLst>
                <a:ext uri="{FF2B5EF4-FFF2-40B4-BE49-F238E27FC236}">
                  <a16:creationId xmlns:a16="http://schemas.microsoft.com/office/drawing/2014/main" id="{76A11E42-234B-4C15-99F9-BD3C57668EAE}"/>
                </a:ext>
              </a:extLst>
            </p:cNvPr>
            <p:cNvSpPr/>
            <p:nvPr/>
          </p:nvSpPr>
          <p:spPr bwMode="auto">
            <a:xfrm>
              <a:off x="8113861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67" name="i$ľïḋè">
              <a:extLst>
                <a:ext uri="{FF2B5EF4-FFF2-40B4-BE49-F238E27FC236}">
                  <a16:creationId xmlns:a16="http://schemas.microsoft.com/office/drawing/2014/main" id="{A2A058A7-3BC5-456E-8CCC-2D04DCF6CB9E}"/>
                </a:ext>
              </a:extLst>
            </p:cNvPr>
            <p:cNvSpPr/>
            <p:nvPr/>
          </p:nvSpPr>
          <p:spPr bwMode="auto">
            <a:xfrm>
              <a:off x="8190561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68" name="isļíḋe">
              <a:extLst>
                <a:ext uri="{FF2B5EF4-FFF2-40B4-BE49-F238E27FC236}">
                  <a16:creationId xmlns:a16="http://schemas.microsoft.com/office/drawing/2014/main" id="{9C9CE156-EC27-4E4F-A205-A112E1518014}"/>
                </a:ext>
              </a:extLst>
            </p:cNvPr>
            <p:cNvSpPr/>
            <p:nvPr/>
          </p:nvSpPr>
          <p:spPr bwMode="auto">
            <a:xfrm>
              <a:off x="8420651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9" name="íśľiḓé">
              <a:extLst>
                <a:ext uri="{FF2B5EF4-FFF2-40B4-BE49-F238E27FC236}">
                  <a16:creationId xmlns:a16="http://schemas.microsoft.com/office/drawing/2014/main" id="{F412B58A-D5F0-418C-9FB7-A52A809331F0}"/>
                </a:ext>
              </a:extLst>
            </p:cNvPr>
            <p:cNvSpPr/>
            <p:nvPr/>
          </p:nvSpPr>
          <p:spPr bwMode="auto">
            <a:xfrm>
              <a:off x="8733341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0" name="ïṡḻïḑé">
              <a:extLst>
                <a:ext uri="{FF2B5EF4-FFF2-40B4-BE49-F238E27FC236}">
                  <a16:creationId xmlns:a16="http://schemas.microsoft.com/office/drawing/2014/main" id="{934457AD-B22A-4AB1-B129-4CA8EE8CE670}"/>
                </a:ext>
              </a:extLst>
            </p:cNvPr>
            <p:cNvSpPr/>
            <p:nvPr/>
          </p:nvSpPr>
          <p:spPr bwMode="auto">
            <a:xfrm>
              <a:off x="8869035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71" name="îṡḷïḍé">
              <a:extLst>
                <a:ext uri="{FF2B5EF4-FFF2-40B4-BE49-F238E27FC236}">
                  <a16:creationId xmlns:a16="http://schemas.microsoft.com/office/drawing/2014/main" id="{8D32F4E1-4C35-4E22-86DD-C97400F834C5}"/>
                </a:ext>
              </a:extLst>
            </p:cNvPr>
            <p:cNvSpPr/>
            <p:nvPr/>
          </p:nvSpPr>
          <p:spPr bwMode="auto">
            <a:xfrm>
              <a:off x="6107932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2" name="isļíḋè">
              <a:extLst>
                <a:ext uri="{FF2B5EF4-FFF2-40B4-BE49-F238E27FC236}">
                  <a16:creationId xmlns:a16="http://schemas.microsoft.com/office/drawing/2014/main" id="{0339D2E5-7070-456E-88D2-B9503D73341B}"/>
                </a:ext>
              </a:extLst>
            </p:cNvPr>
            <p:cNvSpPr/>
            <p:nvPr/>
          </p:nvSpPr>
          <p:spPr bwMode="auto">
            <a:xfrm>
              <a:off x="8454305" y="4466341"/>
              <a:ext cx="595877" cy="1587046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73" name="ïśḷïḍè">
              <a:extLst>
                <a:ext uri="{FF2B5EF4-FFF2-40B4-BE49-F238E27FC236}">
                  <a16:creationId xmlns:a16="http://schemas.microsoft.com/office/drawing/2014/main" id="{6941D892-B18D-431B-966B-69BD6B146620}"/>
                </a:ext>
              </a:extLst>
            </p:cNvPr>
            <p:cNvSpPr/>
            <p:nvPr/>
          </p:nvSpPr>
          <p:spPr bwMode="auto">
            <a:xfrm>
              <a:off x="3813013" y="5050424"/>
              <a:ext cx="5330987" cy="1020666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</p:grpSp>
      <p:sp>
        <p:nvSpPr>
          <p:cNvPr id="76" name="is1ïḍe">
            <a:extLst>
              <a:ext uri="{FF2B5EF4-FFF2-40B4-BE49-F238E27FC236}">
                <a16:creationId xmlns:a16="http://schemas.microsoft.com/office/drawing/2014/main" id="{4415A554-CCFC-4B73-BDC4-DAA8A2116EEE}"/>
              </a:ext>
            </a:extLst>
          </p:cNvPr>
          <p:cNvSpPr/>
          <p:nvPr/>
        </p:nvSpPr>
        <p:spPr>
          <a:xfrm>
            <a:off x="507941" y="497796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设计内容：</a:t>
            </a:r>
          </a:p>
        </p:txBody>
      </p:sp>
      <p:sp>
        <p:nvSpPr>
          <p:cNvPr id="77" name="îsḷîḍê">
            <a:extLst>
              <a:ext uri="{FF2B5EF4-FFF2-40B4-BE49-F238E27FC236}">
                <a16:creationId xmlns:a16="http://schemas.microsoft.com/office/drawing/2014/main" id="{278D0113-8CE1-477C-A079-D72F0002C86A}"/>
              </a:ext>
            </a:extLst>
          </p:cNvPr>
          <p:cNvSpPr txBox="1">
            <a:spLocks/>
          </p:cNvSpPr>
          <p:nvPr/>
        </p:nvSpPr>
        <p:spPr>
          <a:xfrm>
            <a:off x="1301059" y="6305762"/>
            <a:ext cx="4584698" cy="31087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800" spc="600">
                <a:solidFill>
                  <a:schemeClr val="accent3"/>
                </a:solidFill>
              </a:rPr>
              <a:t>www.uestc</a:t>
            </a:r>
            <a:r>
              <a:rPr lang="en-US" altLang="zh-CN" sz="100" spc="600">
                <a:solidFill>
                  <a:schemeClr val="accent3"/>
                </a:solidFill>
              </a:rPr>
              <a:t> </a:t>
            </a:r>
            <a:r>
              <a:rPr lang="en-US" altLang="zh-CN" sz="800" spc="600">
                <a:solidFill>
                  <a:schemeClr val="accent3"/>
                </a:solidFill>
              </a:rPr>
              <a:t>.</a:t>
            </a:r>
            <a:r>
              <a:rPr lang="en-US" altLang="zh-CN" sz="800" spc="600" dirty="0">
                <a:solidFill>
                  <a:schemeClr val="accent3"/>
                </a:solidFill>
              </a:rPr>
              <a:t>edu.cn</a:t>
            </a:r>
            <a:endParaRPr lang="zh-CN" altLang="en-US" sz="800" spc="600" dirty="0">
              <a:solidFill>
                <a:schemeClr val="accent3"/>
              </a:solidFill>
            </a:endParaRPr>
          </a:p>
        </p:txBody>
      </p:sp>
      <p:sp>
        <p:nvSpPr>
          <p:cNvPr id="3" name="î$ḷide">
            <a:extLst>
              <a:ext uri="{FF2B5EF4-FFF2-40B4-BE49-F238E27FC236}">
                <a16:creationId xmlns:a16="http://schemas.microsoft.com/office/drawing/2014/main" id="{F99566FB-AE5C-4E43-93BF-1236C997E9F3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9" name="ís1iḋè">
            <a:extLst>
              <a:ext uri="{FF2B5EF4-FFF2-40B4-BE49-F238E27FC236}">
                <a16:creationId xmlns:a16="http://schemas.microsoft.com/office/drawing/2014/main" id="{FFF708EB-D135-4216-BB59-4FEEE28D2733}"/>
              </a:ext>
            </a:extLst>
          </p:cNvPr>
          <p:cNvGrpSpPr/>
          <p:nvPr/>
        </p:nvGrpSpPr>
        <p:grpSpPr>
          <a:xfrm>
            <a:off x="10075891" y="6281444"/>
            <a:ext cx="1381172" cy="310871"/>
            <a:chOff x="1071789" y="916886"/>
            <a:chExt cx="2217511" cy="499112"/>
          </a:xfrm>
        </p:grpSpPr>
        <p:grpSp>
          <p:nvGrpSpPr>
            <p:cNvPr id="80" name="ïsḻídè">
              <a:extLst>
                <a:ext uri="{FF2B5EF4-FFF2-40B4-BE49-F238E27FC236}">
                  <a16:creationId xmlns:a16="http://schemas.microsoft.com/office/drawing/2014/main" id="{10012BE1-18FB-414E-A234-192CB1DF14BE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91" name="ïṣ1iḑè">
                <a:extLst>
                  <a:ext uri="{FF2B5EF4-FFF2-40B4-BE49-F238E27FC236}">
                    <a16:creationId xmlns:a16="http://schemas.microsoft.com/office/drawing/2014/main" id="{7589E371-A64A-41E9-9886-88C2723455AE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$ḷíḑe">
                <a:extLst>
                  <a:ext uri="{FF2B5EF4-FFF2-40B4-BE49-F238E27FC236}">
                    <a16:creationId xmlns:a16="http://schemas.microsoft.com/office/drawing/2014/main" id="{481E7B09-48A6-4402-9252-8024391809F9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sḻïḋe">
                <a:extLst>
                  <a:ext uri="{FF2B5EF4-FFF2-40B4-BE49-F238E27FC236}">
                    <a16:creationId xmlns:a16="http://schemas.microsoft.com/office/drawing/2014/main" id="{A443E617-0032-4B7F-A31A-5582D856EEA0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ṧ1ïḍe">
                <a:extLst>
                  <a:ext uri="{FF2B5EF4-FFF2-40B4-BE49-F238E27FC236}">
                    <a16:creationId xmlns:a16="http://schemas.microsoft.com/office/drawing/2014/main" id="{FE3F1AC8-55DA-4AB9-A42B-FC09D3696A05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sḻîdè">
                <a:extLst>
                  <a:ext uri="{FF2B5EF4-FFF2-40B4-BE49-F238E27FC236}">
                    <a16:creationId xmlns:a16="http://schemas.microsoft.com/office/drawing/2014/main" id="{35A105D4-2AD3-473D-80F2-878DEC702A65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i$1íḓê">
                <a:extLst>
                  <a:ext uri="{FF2B5EF4-FFF2-40B4-BE49-F238E27FC236}">
                    <a16:creationId xmlns:a16="http://schemas.microsoft.com/office/drawing/2014/main" id="{C52DD86A-ABAA-4ED8-BA26-DE5BB7F813D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îṥļíḍê">
                <a:extLst>
                  <a:ext uri="{FF2B5EF4-FFF2-40B4-BE49-F238E27FC236}">
                    <a16:creationId xmlns:a16="http://schemas.microsoft.com/office/drawing/2014/main" id="{476C0FCF-E78A-483B-9F7C-5BC89ECDECF3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sļïḍe">
                <a:extLst>
                  <a:ext uri="{FF2B5EF4-FFF2-40B4-BE49-F238E27FC236}">
                    <a16:creationId xmlns:a16="http://schemas.microsoft.com/office/drawing/2014/main" id="{683633E5-B317-4B50-BCA2-7E71A1822B5B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îşḻîḓè">
                <a:extLst>
                  <a:ext uri="{FF2B5EF4-FFF2-40B4-BE49-F238E27FC236}">
                    <a16:creationId xmlns:a16="http://schemas.microsoft.com/office/drawing/2014/main" id="{74268E3B-F4FB-4E3B-BE45-515BF8332ED9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isliḋé">
                <a:extLst>
                  <a:ext uri="{FF2B5EF4-FFF2-40B4-BE49-F238E27FC236}">
                    <a16:creationId xmlns:a16="http://schemas.microsoft.com/office/drawing/2014/main" id="{FD05117D-F6E3-495C-90DC-F67D0C4320D5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101" name="íSlídè">
                <a:extLst>
                  <a:ext uri="{FF2B5EF4-FFF2-40B4-BE49-F238E27FC236}">
                    <a16:creationId xmlns:a16="http://schemas.microsoft.com/office/drawing/2014/main" id="{36851A5D-3808-42BE-8352-CA317958E568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$liḋé">
                <a:extLst>
                  <a:ext uri="{FF2B5EF4-FFF2-40B4-BE49-F238E27FC236}">
                    <a16:creationId xmlns:a16="http://schemas.microsoft.com/office/drawing/2014/main" id="{C00E0AA7-DC1D-49D2-A9F5-39D08ECA9F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îṡlíḍe">
                <a:extLst>
                  <a:ext uri="{FF2B5EF4-FFF2-40B4-BE49-F238E27FC236}">
                    <a16:creationId xmlns:a16="http://schemas.microsoft.com/office/drawing/2014/main" id="{6F3391CF-A6F7-44CB-81ED-D140EE05499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ŝḷîďe">
                <a:extLst>
                  <a:ext uri="{FF2B5EF4-FFF2-40B4-BE49-F238E27FC236}">
                    <a16:creationId xmlns:a16="http://schemas.microsoft.com/office/drawing/2014/main" id="{2B8F685D-5B82-4833-B322-44A0C12D0142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ṩľîḋé">
                <a:extLst>
                  <a:ext uri="{FF2B5EF4-FFF2-40B4-BE49-F238E27FC236}">
                    <a16:creationId xmlns:a16="http://schemas.microsoft.com/office/drawing/2014/main" id="{A582AE63-7AEF-4ABB-AFD7-8EB05E1C5B05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îŝliďè">
                <a:extLst>
                  <a:ext uri="{FF2B5EF4-FFF2-40B4-BE49-F238E27FC236}">
                    <a16:creationId xmlns:a16="http://schemas.microsoft.com/office/drawing/2014/main" id="{1AB8CA30-0378-4636-9C86-C3B972C4E213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sḻiďe">
                <a:extLst>
                  <a:ext uri="{FF2B5EF4-FFF2-40B4-BE49-F238E27FC236}">
                    <a16:creationId xmlns:a16="http://schemas.microsoft.com/office/drawing/2014/main" id="{30B9A6C2-EDBC-4112-987D-410E8F152223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1" name="ïṥḷidè">
              <a:extLst>
                <a:ext uri="{FF2B5EF4-FFF2-40B4-BE49-F238E27FC236}">
                  <a16:creationId xmlns:a16="http://schemas.microsoft.com/office/drawing/2014/main" id="{3361794D-7D66-4705-B5C6-C498666B8052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85" name="išḷïḍé">
                <a:extLst>
                  <a:ext uri="{FF2B5EF4-FFF2-40B4-BE49-F238E27FC236}">
                    <a16:creationId xmlns:a16="http://schemas.microsoft.com/office/drawing/2014/main" id="{714015A9-52B2-404C-AB01-38AF7D8E03C9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ṧ1iḓé">
                <a:extLst>
                  <a:ext uri="{FF2B5EF4-FFF2-40B4-BE49-F238E27FC236}">
                    <a16:creationId xmlns:a16="http://schemas.microsoft.com/office/drawing/2014/main" id="{61B4CA39-C447-42BD-825F-9443075B7F3A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śḻîḍé">
                <a:extLst>
                  <a:ext uri="{FF2B5EF4-FFF2-40B4-BE49-F238E27FC236}">
                    <a16:creationId xmlns:a16="http://schemas.microsoft.com/office/drawing/2014/main" id="{DEF6740A-2D08-488B-9EEE-61266D7BC869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ṣľïḑe">
                <a:extLst>
                  <a:ext uri="{FF2B5EF4-FFF2-40B4-BE49-F238E27FC236}">
                    <a16:creationId xmlns:a16="http://schemas.microsoft.com/office/drawing/2014/main" id="{E665543F-FD98-4345-8573-5B5A287F3C1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ṡḷíḓè">
                <a:extLst>
                  <a:ext uri="{FF2B5EF4-FFF2-40B4-BE49-F238E27FC236}">
                    <a16:creationId xmlns:a16="http://schemas.microsoft.com/office/drawing/2014/main" id="{5BF72B2D-85B8-4BAC-A88B-E0D75F72956A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śľiḓè">
                <a:extLst>
                  <a:ext uri="{FF2B5EF4-FFF2-40B4-BE49-F238E27FC236}">
                    <a16:creationId xmlns:a16="http://schemas.microsoft.com/office/drawing/2014/main" id="{DD96F91B-4822-496A-9EE7-D6A84E2A387E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2" name="ïṣlîḋe">
              <a:extLst>
                <a:ext uri="{FF2B5EF4-FFF2-40B4-BE49-F238E27FC236}">
                  <a16:creationId xmlns:a16="http://schemas.microsoft.com/office/drawing/2014/main" id="{3EDE0A7F-535D-4ECD-8887-657F47A5192D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83" name="íṣlíḍé">
                <a:extLst>
                  <a:ext uri="{FF2B5EF4-FFF2-40B4-BE49-F238E27FC236}">
                    <a16:creationId xmlns:a16="http://schemas.microsoft.com/office/drawing/2014/main" id="{AF4DB646-8F57-4FB8-B403-0AA88224364D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ṡ1iḓé">
                <a:extLst>
                  <a:ext uri="{FF2B5EF4-FFF2-40B4-BE49-F238E27FC236}">
                    <a16:creationId xmlns:a16="http://schemas.microsoft.com/office/drawing/2014/main" id="{FB843CFF-96B3-4A73-8BE4-44A88EB89084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74" name="iŝḷíḑê">
            <a:extLst>
              <a:ext uri="{FF2B5EF4-FFF2-40B4-BE49-F238E27FC236}">
                <a16:creationId xmlns:a16="http://schemas.microsoft.com/office/drawing/2014/main" id="{548AC9F7-E4C6-40A0-A82B-62BFF1944D65}"/>
              </a:ext>
            </a:extLst>
          </p:cNvPr>
          <p:cNvSpPr txBox="1">
            <a:spLocks/>
          </p:cNvSpPr>
          <p:nvPr/>
        </p:nvSpPr>
        <p:spPr>
          <a:xfrm>
            <a:off x="251121" y="1668178"/>
            <a:ext cx="10845800" cy="319544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以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 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红色指示灯、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 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绿色指示灯和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 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黄色指示灯模拟路口的东、南、西、北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 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方向的红、绿、黄交通灯。控制这些指示灯，使它们按下列规律亮和灭。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初始状态为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 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方向的红灯全亮，时间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S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；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东、西方向绿灯亮，南、北方向红灯亮。东、西方向通车，时间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5S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；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3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东、西方向黄灯闪烁，南、北方向红灯亮，时间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S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；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东、西方向红灯亮，南、北方向绿灯亮，南、北方向通车，时间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5S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；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5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东、西方向红灯亮，南、北方向红闪烁，时间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S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；（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6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返回 </a:t>
            </a:r>
            <a:r>
              <a:rPr lang="en-US" altLang="zh-CN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zh-CN" alt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），继续运行；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08BB2132-A7B8-4274-8893-7EFBAE528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824" y="175462"/>
            <a:ext cx="5419185" cy="895350"/>
          </a:xfrm>
        </p:spPr>
        <p:txBody>
          <a:bodyPr/>
          <a:lstStyle/>
          <a:p>
            <a:r>
              <a:rPr lang="zh-CN" altLang="en-US" dirty="0"/>
              <a:t>设计思路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77C09B77-DF8D-454E-B535-791A93CEA1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23" y="1070812"/>
            <a:ext cx="5419185" cy="101562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灯亮即为</a:t>
            </a:r>
            <a:r>
              <a:rPr kumimoji="0" lang="en-US" altLang="zh-CN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1</a:t>
            </a:r>
            <a:r>
              <a:rPr kumimoji="0" lang="zh-CN" altLang="en-US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，灯灭即为</a:t>
            </a:r>
            <a:r>
              <a:rPr kumimoji="0" lang="en-US" altLang="zh-CN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0</a:t>
            </a:r>
            <a:endParaRPr kumimoji="0" lang="zh-CN" altLang="en-US" sz="2800" b="0" i="0" u="none" strike="noStrike" kern="1200" cap="none" spc="15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endParaRPr lang="zh-CN" altLang="en-US" dirty="0"/>
          </a:p>
        </p:txBody>
      </p:sp>
      <p:graphicFrame>
        <p:nvGraphicFramePr>
          <p:cNvPr id="10" name="表格 6">
            <a:extLst>
              <a:ext uri="{FF2B5EF4-FFF2-40B4-BE49-F238E27FC236}">
                <a16:creationId xmlns:a16="http://schemas.microsoft.com/office/drawing/2014/main" id="{80A277A1-E20C-49CA-9A85-0F76FA8D85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226434"/>
              </p:ext>
            </p:extLst>
          </p:nvPr>
        </p:nvGraphicFramePr>
        <p:xfrm>
          <a:off x="3816150" y="2086435"/>
          <a:ext cx="7208252" cy="258064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802063">
                  <a:extLst>
                    <a:ext uri="{9D8B030D-6E8A-4147-A177-3AD203B41FA5}">
                      <a16:colId xmlns:a16="http://schemas.microsoft.com/office/drawing/2014/main" val="1684173399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1020372909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71195548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3611344926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东西方向</a:t>
                      </a:r>
                      <a:endParaRPr lang="en-US" altLang="zh-CN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4673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红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黄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绿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持续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316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2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304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925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38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381464"/>
                  </a:ext>
                </a:extLst>
              </a:tr>
            </a:tbl>
          </a:graphicData>
        </a:graphic>
      </p:graphicFrame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145B932E-A8F1-4E49-B3F8-5A25DFFF150E}"/>
              </a:ext>
            </a:extLst>
          </p:cNvPr>
          <p:cNvCxnSpPr/>
          <p:nvPr/>
        </p:nvCxnSpPr>
        <p:spPr>
          <a:xfrm>
            <a:off x="11254336" y="4556250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7B180B9B-F6DA-4141-95BA-ACA119CA93F6}"/>
              </a:ext>
            </a:extLst>
          </p:cNvPr>
          <p:cNvCxnSpPr/>
          <p:nvPr/>
        </p:nvCxnSpPr>
        <p:spPr>
          <a:xfrm flipV="1">
            <a:off x="12207237" y="3381968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D72BC5E1-79ED-4541-B563-97A26EC6C4DB}"/>
              </a:ext>
            </a:extLst>
          </p:cNvPr>
          <p:cNvCxnSpPr/>
          <p:nvPr/>
        </p:nvCxnSpPr>
        <p:spPr>
          <a:xfrm flipH="1">
            <a:off x="11321713" y="3381968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08BB2132-A7B8-4274-8893-7EFBAE528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824" y="175462"/>
            <a:ext cx="5419185" cy="895350"/>
          </a:xfrm>
        </p:spPr>
        <p:txBody>
          <a:bodyPr/>
          <a:lstStyle/>
          <a:p>
            <a:r>
              <a:rPr lang="zh-CN" altLang="en-US" dirty="0"/>
              <a:t>设计思路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77C09B77-DF8D-454E-B535-791A93CEA1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23" y="1070812"/>
            <a:ext cx="5419185" cy="101562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灯亮即为</a:t>
            </a:r>
            <a:r>
              <a:rPr kumimoji="0" lang="en-US" altLang="zh-CN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1</a:t>
            </a:r>
            <a:r>
              <a:rPr kumimoji="0" lang="zh-CN" altLang="en-US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，灯灭即为</a:t>
            </a:r>
            <a:r>
              <a:rPr kumimoji="0" lang="en-US" altLang="zh-CN" sz="28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0</a:t>
            </a:r>
            <a:endParaRPr kumimoji="0" lang="zh-CN" altLang="en-US" sz="2800" b="0" i="0" u="none" strike="noStrike" kern="1200" cap="none" spc="15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endParaRPr lang="zh-CN" altLang="en-US" dirty="0"/>
          </a:p>
        </p:txBody>
      </p:sp>
      <p:graphicFrame>
        <p:nvGraphicFramePr>
          <p:cNvPr id="8" name="表格 6">
            <a:extLst>
              <a:ext uri="{FF2B5EF4-FFF2-40B4-BE49-F238E27FC236}">
                <a16:creationId xmlns:a16="http://schemas.microsoft.com/office/drawing/2014/main" id="{CF7F7AAE-29C8-4ADB-B6C4-9425E5E8B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429536"/>
              </p:ext>
            </p:extLst>
          </p:nvPr>
        </p:nvGraphicFramePr>
        <p:xfrm>
          <a:off x="3623646" y="2086435"/>
          <a:ext cx="7208252" cy="258572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802063">
                  <a:extLst>
                    <a:ext uri="{9D8B030D-6E8A-4147-A177-3AD203B41FA5}">
                      <a16:colId xmlns:a16="http://schemas.microsoft.com/office/drawing/2014/main" val="1684173399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1020372909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71195548"/>
                    </a:ext>
                  </a:extLst>
                </a:gridCol>
                <a:gridCol w="1802063">
                  <a:extLst>
                    <a:ext uri="{9D8B030D-6E8A-4147-A177-3AD203B41FA5}">
                      <a16:colId xmlns:a16="http://schemas.microsoft.com/office/drawing/2014/main" val="3611344926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南北方向</a:t>
                      </a:r>
                      <a:endParaRPr lang="en-US" altLang="zh-CN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4673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红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黄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绿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持续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316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2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304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925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3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381464"/>
                  </a:ext>
                </a:extLst>
              </a:tr>
            </a:tbl>
          </a:graphicData>
        </a:graphic>
      </p:graphicFrame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B10EC42-E144-48B8-9A7D-97578AFB2D87}"/>
              </a:ext>
            </a:extLst>
          </p:cNvPr>
          <p:cNvCxnSpPr/>
          <p:nvPr/>
        </p:nvCxnSpPr>
        <p:spPr>
          <a:xfrm>
            <a:off x="11061832" y="4556250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6F00AB0-E1B3-47E6-8FEF-EACD47CDCE7D}"/>
              </a:ext>
            </a:extLst>
          </p:cNvPr>
          <p:cNvCxnSpPr/>
          <p:nvPr/>
        </p:nvCxnSpPr>
        <p:spPr>
          <a:xfrm flipV="1">
            <a:off x="12014733" y="3381968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A05C047C-58D0-4360-983A-64AE4924ABED}"/>
              </a:ext>
            </a:extLst>
          </p:cNvPr>
          <p:cNvCxnSpPr/>
          <p:nvPr/>
        </p:nvCxnSpPr>
        <p:spPr>
          <a:xfrm flipH="1">
            <a:off x="11129209" y="3381968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746764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B0164AF-4246-4CD6-8CA3-F03179278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/>
              <a:t>东西方向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28FA348-A0F6-414D-A1CC-C2CA5BF85C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33764"/>
            <a:ext cx="9437426" cy="493819"/>
          </a:xfrm>
          <a:prstGeom prst="rect">
            <a:avLst/>
          </a:prstGeom>
        </p:spPr>
      </p:pic>
      <p:graphicFrame>
        <p:nvGraphicFramePr>
          <p:cNvPr id="54" name="表格 53">
            <a:extLst>
              <a:ext uri="{FF2B5EF4-FFF2-40B4-BE49-F238E27FC236}">
                <a16:creationId xmlns:a16="http://schemas.microsoft.com/office/drawing/2014/main" id="{40F7E565-BD0E-4529-9519-BC37596BDE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518112"/>
              </p:ext>
            </p:extLst>
          </p:nvPr>
        </p:nvGraphicFramePr>
        <p:xfrm>
          <a:off x="747746" y="2838200"/>
          <a:ext cx="1802064" cy="22199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1032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  <a:gridCol w="901032">
                  <a:extLst>
                    <a:ext uri="{9D8B030D-6E8A-4147-A177-3AD203B41FA5}">
                      <a16:colId xmlns:a16="http://schemas.microsoft.com/office/drawing/2014/main" val="3907236277"/>
                    </a:ext>
                  </a:extLst>
                </a:gridCol>
              </a:tblGrid>
              <a:tr h="22841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红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342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5617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825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746269"/>
                  </a:ext>
                </a:extLst>
              </a:tr>
            </a:tbl>
          </a:graphicData>
        </a:graphic>
      </p:graphicFrame>
      <p:graphicFrame>
        <p:nvGraphicFramePr>
          <p:cNvPr id="55" name="表格 54">
            <a:extLst>
              <a:ext uri="{FF2B5EF4-FFF2-40B4-BE49-F238E27FC236}">
                <a16:creationId xmlns:a16="http://schemas.microsoft.com/office/drawing/2014/main" id="{FCA48B22-2708-42D6-A289-2E020CDD0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711948"/>
              </p:ext>
            </p:extLst>
          </p:nvPr>
        </p:nvGraphicFramePr>
        <p:xfrm>
          <a:off x="4696566" y="2838200"/>
          <a:ext cx="1802064" cy="22199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1032">
                  <a:extLst>
                    <a:ext uri="{9D8B030D-6E8A-4147-A177-3AD203B41FA5}">
                      <a16:colId xmlns:a16="http://schemas.microsoft.com/office/drawing/2014/main" val="1221925438"/>
                    </a:ext>
                  </a:extLst>
                </a:gridCol>
                <a:gridCol w="901032">
                  <a:extLst>
                    <a:ext uri="{9D8B030D-6E8A-4147-A177-3AD203B41FA5}">
                      <a16:colId xmlns:a16="http://schemas.microsoft.com/office/drawing/2014/main" val="197049577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黄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692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4552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9972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992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4283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489923"/>
                  </a:ext>
                </a:extLst>
              </a:tr>
            </a:tbl>
          </a:graphicData>
        </a:graphic>
      </p:graphicFrame>
      <p:graphicFrame>
        <p:nvGraphicFramePr>
          <p:cNvPr id="56" name="表格 55">
            <a:extLst>
              <a:ext uri="{FF2B5EF4-FFF2-40B4-BE49-F238E27FC236}">
                <a16:creationId xmlns:a16="http://schemas.microsoft.com/office/drawing/2014/main" id="{94C03795-535C-4E2B-A382-5F4C9E320B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822643"/>
              </p:ext>
            </p:extLst>
          </p:nvPr>
        </p:nvGraphicFramePr>
        <p:xfrm>
          <a:off x="8433352" y="2838200"/>
          <a:ext cx="1802064" cy="22199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1032">
                  <a:extLst>
                    <a:ext uri="{9D8B030D-6E8A-4147-A177-3AD203B41FA5}">
                      <a16:colId xmlns:a16="http://schemas.microsoft.com/office/drawing/2014/main" val="477687337"/>
                    </a:ext>
                  </a:extLst>
                </a:gridCol>
                <a:gridCol w="901032">
                  <a:extLst>
                    <a:ext uri="{9D8B030D-6E8A-4147-A177-3AD203B41FA5}">
                      <a16:colId xmlns:a16="http://schemas.microsoft.com/office/drawing/2014/main" val="18023155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绿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61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0360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163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2507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6171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5813011"/>
                  </a:ext>
                </a:extLst>
              </a:tr>
            </a:tbl>
          </a:graphicData>
        </a:graphic>
      </p:graphicFrame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E02C3449-D1AC-441E-9D1F-BAE054F9E8DD}"/>
              </a:ext>
            </a:extLst>
          </p:cNvPr>
          <p:cNvCxnSpPr/>
          <p:nvPr/>
        </p:nvCxnSpPr>
        <p:spPr>
          <a:xfrm>
            <a:off x="6528362" y="4928134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D9622334-1D41-4B16-B557-939FADA0FA26}"/>
              </a:ext>
            </a:extLst>
          </p:cNvPr>
          <p:cNvCxnSpPr/>
          <p:nvPr/>
        </p:nvCxnSpPr>
        <p:spPr>
          <a:xfrm flipV="1">
            <a:off x="7481263" y="3753852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>
            <a:extLst>
              <a:ext uri="{FF2B5EF4-FFF2-40B4-BE49-F238E27FC236}">
                <a16:creationId xmlns:a16="http://schemas.microsoft.com/office/drawing/2014/main" id="{4C113440-1F28-480C-91EA-294C7040D9D1}"/>
              </a:ext>
            </a:extLst>
          </p:cNvPr>
          <p:cNvCxnSpPr/>
          <p:nvPr/>
        </p:nvCxnSpPr>
        <p:spPr>
          <a:xfrm flipH="1">
            <a:off x="6595739" y="3753852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1688A14B-894A-4A9B-9F23-D89436AE0A16}"/>
              </a:ext>
            </a:extLst>
          </p:cNvPr>
          <p:cNvCxnSpPr/>
          <p:nvPr/>
        </p:nvCxnSpPr>
        <p:spPr>
          <a:xfrm>
            <a:off x="10270154" y="4928134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03D268F6-B00B-4CCB-B3DD-17B3F8C0553E}"/>
              </a:ext>
            </a:extLst>
          </p:cNvPr>
          <p:cNvCxnSpPr/>
          <p:nvPr/>
        </p:nvCxnSpPr>
        <p:spPr>
          <a:xfrm flipV="1">
            <a:off x="11223055" y="3753852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>
            <a:extLst>
              <a:ext uri="{FF2B5EF4-FFF2-40B4-BE49-F238E27FC236}">
                <a16:creationId xmlns:a16="http://schemas.microsoft.com/office/drawing/2014/main" id="{DA9DF7D7-33D6-46CA-95A0-9AE50606F922}"/>
              </a:ext>
            </a:extLst>
          </p:cNvPr>
          <p:cNvCxnSpPr/>
          <p:nvPr/>
        </p:nvCxnSpPr>
        <p:spPr>
          <a:xfrm flipH="1">
            <a:off x="10337531" y="3753852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48997456-7E7C-414A-AA45-503F49F25348}"/>
              </a:ext>
            </a:extLst>
          </p:cNvPr>
          <p:cNvCxnSpPr/>
          <p:nvPr/>
        </p:nvCxnSpPr>
        <p:spPr>
          <a:xfrm>
            <a:off x="2597215" y="4928134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08CB0F7C-7E34-423D-9885-B021DEA564AF}"/>
              </a:ext>
            </a:extLst>
          </p:cNvPr>
          <p:cNvCxnSpPr/>
          <p:nvPr/>
        </p:nvCxnSpPr>
        <p:spPr>
          <a:xfrm flipV="1">
            <a:off x="3550116" y="3753852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>
            <a:extLst>
              <a:ext uri="{FF2B5EF4-FFF2-40B4-BE49-F238E27FC236}">
                <a16:creationId xmlns:a16="http://schemas.microsoft.com/office/drawing/2014/main" id="{777A4C08-8D8F-4B0A-8DB4-A8DCFB6E93CB}"/>
              </a:ext>
            </a:extLst>
          </p:cNvPr>
          <p:cNvCxnSpPr/>
          <p:nvPr/>
        </p:nvCxnSpPr>
        <p:spPr>
          <a:xfrm flipH="1">
            <a:off x="2664592" y="3753852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68327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1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ḷîḑè">
            <a:extLst>
              <a:ext uri="{FF2B5EF4-FFF2-40B4-BE49-F238E27FC236}">
                <a16:creationId xmlns:a16="http://schemas.microsoft.com/office/drawing/2014/main" id="{5565BD0C-5EF4-46F2-9379-3588FCEE6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302" y="-63925"/>
            <a:ext cx="10850563" cy="1028699"/>
          </a:xfrm>
        </p:spPr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îś1iḓê">
            <a:extLst>
              <a:ext uri="{FF2B5EF4-FFF2-40B4-BE49-F238E27FC236}">
                <a16:creationId xmlns:a16="http://schemas.microsoft.com/office/drawing/2014/main" id="{1FA7FB13-FF89-4B96-814E-1AD88C47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aphicFrame>
        <p:nvGraphicFramePr>
          <p:cNvPr id="34" name="表格 33">
            <a:extLst>
              <a:ext uri="{FF2B5EF4-FFF2-40B4-BE49-F238E27FC236}">
                <a16:creationId xmlns:a16="http://schemas.microsoft.com/office/drawing/2014/main" id="{CAD4049A-A338-40B8-88E5-665075E3D5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053408"/>
              </p:ext>
            </p:extLst>
          </p:nvPr>
        </p:nvGraphicFramePr>
        <p:xfrm>
          <a:off x="736369" y="1334469"/>
          <a:ext cx="1802064" cy="22148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1032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  <a:gridCol w="901032">
                  <a:extLst>
                    <a:ext uri="{9D8B030D-6E8A-4147-A177-3AD203B41FA5}">
                      <a16:colId xmlns:a16="http://schemas.microsoft.com/office/drawing/2014/main" val="3907236277"/>
                    </a:ext>
                  </a:extLst>
                </a:gridCol>
              </a:tblGrid>
              <a:tr h="22841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红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342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5617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825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746269"/>
                  </a:ext>
                </a:extLst>
              </a:tr>
            </a:tbl>
          </a:graphicData>
        </a:graphic>
      </p:graphicFrame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35BA0163-0C33-43EA-ACA0-85FCB93D7DF3}"/>
              </a:ext>
            </a:extLst>
          </p:cNvPr>
          <p:cNvCxnSpPr/>
          <p:nvPr/>
        </p:nvCxnSpPr>
        <p:spPr>
          <a:xfrm>
            <a:off x="2566589" y="3472529"/>
            <a:ext cx="95290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4941B8FB-C5B4-47AE-B86A-34C827D4E5C1}"/>
              </a:ext>
            </a:extLst>
          </p:cNvPr>
          <p:cNvCxnSpPr/>
          <p:nvPr/>
        </p:nvCxnSpPr>
        <p:spPr>
          <a:xfrm flipV="1">
            <a:off x="3519490" y="2298247"/>
            <a:ext cx="0" cy="117428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23F09B00-B883-478C-8D70-562BB6E05B93}"/>
              </a:ext>
            </a:extLst>
          </p:cNvPr>
          <p:cNvCxnSpPr/>
          <p:nvPr/>
        </p:nvCxnSpPr>
        <p:spPr>
          <a:xfrm flipH="1">
            <a:off x="2633966" y="2298247"/>
            <a:ext cx="88552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表格 37">
            <a:extLst>
              <a:ext uri="{FF2B5EF4-FFF2-40B4-BE49-F238E27FC236}">
                <a16:creationId xmlns:a16="http://schemas.microsoft.com/office/drawing/2014/main" id="{1BDCB673-B66D-473B-AB46-37B0DC5003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106685"/>
              </p:ext>
            </p:extLst>
          </p:nvPr>
        </p:nvGraphicFramePr>
        <p:xfrm>
          <a:off x="671513" y="4709560"/>
          <a:ext cx="1802064" cy="147320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1032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  <a:gridCol w="901032">
                  <a:extLst>
                    <a:ext uri="{9D8B030D-6E8A-4147-A177-3AD203B41FA5}">
                      <a16:colId xmlns:a16="http://schemas.microsoft.com/office/drawing/2014/main" val="3907236277"/>
                    </a:ext>
                  </a:extLst>
                </a:gridCol>
              </a:tblGrid>
              <a:tr h="22841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红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时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7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342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7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5617468"/>
                  </a:ext>
                </a:extLst>
              </a:tr>
            </a:tbl>
          </a:graphicData>
        </a:graphic>
      </p:graphicFrame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D2CBCE3-F4CD-4328-88D0-206021CA7669}"/>
              </a:ext>
            </a:extLst>
          </p:cNvPr>
          <p:cNvCxnSpPr/>
          <p:nvPr/>
        </p:nvCxnSpPr>
        <p:spPr>
          <a:xfrm>
            <a:off x="2589614" y="5990256"/>
            <a:ext cx="52939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A68FC7AB-689A-4707-836A-CB243BE2D1B5}"/>
              </a:ext>
            </a:extLst>
          </p:cNvPr>
          <p:cNvCxnSpPr>
            <a:cxnSpLocks/>
          </p:cNvCxnSpPr>
          <p:nvPr/>
        </p:nvCxnSpPr>
        <p:spPr>
          <a:xfrm flipV="1">
            <a:off x="3119004" y="5720748"/>
            <a:ext cx="0" cy="269509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1A9791C0-EF97-45F8-821F-80DD4E09B4D4}"/>
              </a:ext>
            </a:extLst>
          </p:cNvPr>
          <p:cNvCxnSpPr/>
          <p:nvPr/>
        </p:nvCxnSpPr>
        <p:spPr>
          <a:xfrm flipH="1">
            <a:off x="2753244" y="5720748"/>
            <a:ext cx="36576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矩形 41">
            <a:extLst>
              <a:ext uri="{FF2B5EF4-FFF2-40B4-BE49-F238E27FC236}">
                <a16:creationId xmlns:a16="http://schemas.microsoft.com/office/drawing/2014/main" id="{F145417A-894B-4BB3-B82F-43DC2283582F}"/>
              </a:ext>
            </a:extLst>
          </p:cNvPr>
          <p:cNvSpPr/>
          <p:nvPr/>
        </p:nvSpPr>
        <p:spPr>
          <a:xfrm>
            <a:off x="5120406" y="1181616"/>
            <a:ext cx="3194284" cy="16734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循环时长为</a:t>
            </a:r>
            <a:r>
              <a:rPr lang="en-US" altLang="zh-CN" dirty="0">
                <a:solidFill>
                  <a:schemeClr val="tx1"/>
                </a:solidFill>
              </a:rPr>
              <a:t>14s,</a:t>
            </a:r>
            <a:r>
              <a:rPr lang="zh-CN" altLang="en-US" dirty="0">
                <a:solidFill>
                  <a:schemeClr val="tx1"/>
                </a:solidFill>
              </a:rPr>
              <a:t>故只需要</a:t>
            </a:r>
            <a:r>
              <a:rPr lang="en-US" altLang="zh-CN" dirty="0">
                <a:solidFill>
                  <a:schemeClr val="tx1"/>
                </a:solidFill>
              </a:rPr>
              <a:t>14</a:t>
            </a:r>
            <a:r>
              <a:rPr lang="zh-CN" altLang="en-US" dirty="0">
                <a:solidFill>
                  <a:schemeClr val="tx1"/>
                </a:solidFill>
              </a:rPr>
              <a:t>个状态</a:t>
            </a:r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zh-CN" altLang="en-US" dirty="0">
                <a:solidFill>
                  <a:schemeClr val="tx1"/>
                </a:solidFill>
              </a:rPr>
              <a:t>选前</a:t>
            </a:r>
            <a:r>
              <a:rPr lang="en-US" altLang="zh-CN" dirty="0">
                <a:solidFill>
                  <a:schemeClr val="tx1"/>
                </a:solidFill>
              </a:rPr>
              <a:t>7</a:t>
            </a:r>
            <a:r>
              <a:rPr lang="zh-CN" altLang="en-US" dirty="0">
                <a:solidFill>
                  <a:schemeClr val="tx1"/>
                </a:solidFill>
              </a:rPr>
              <a:t>个状态为低电平（</a:t>
            </a:r>
            <a:r>
              <a:rPr lang="en-US" altLang="zh-CN" dirty="0">
                <a:solidFill>
                  <a:schemeClr val="tx1"/>
                </a:solidFill>
              </a:rPr>
              <a:t>0</a:t>
            </a:r>
            <a:r>
              <a:rPr lang="zh-CN" altLang="en-US" dirty="0">
                <a:solidFill>
                  <a:schemeClr val="tx1"/>
                </a:solidFill>
              </a:rPr>
              <a:t>），后</a:t>
            </a:r>
            <a:r>
              <a:rPr lang="en-US" altLang="zh-CN" dirty="0">
                <a:solidFill>
                  <a:schemeClr val="tx1"/>
                </a:solidFill>
              </a:rPr>
              <a:t>7</a:t>
            </a:r>
            <a:r>
              <a:rPr lang="zh-CN" altLang="en-US" dirty="0">
                <a:solidFill>
                  <a:schemeClr val="tx1"/>
                </a:solidFill>
              </a:rPr>
              <a:t>个状态为高电平（</a:t>
            </a:r>
            <a:r>
              <a:rPr lang="en-US" altLang="zh-CN" dirty="0">
                <a:solidFill>
                  <a:schemeClr val="tx1"/>
                </a:solidFill>
              </a:rPr>
              <a:t>1</a:t>
            </a:r>
            <a:r>
              <a:rPr lang="zh-CN" altLang="en-US" dirty="0">
                <a:solidFill>
                  <a:schemeClr val="tx1"/>
                </a:solidFill>
              </a:rPr>
              <a:t>）</a:t>
            </a:r>
          </a:p>
        </p:txBody>
      </p:sp>
      <p:graphicFrame>
        <p:nvGraphicFramePr>
          <p:cNvPr id="43" name="表格 42">
            <a:extLst>
              <a:ext uri="{FF2B5EF4-FFF2-40B4-BE49-F238E27FC236}">
                <a16:creationId xmlns:a16="http://schemas.microsoft.com/office/drawing/2014/main" id="{C6503AA2-84F8-4FED-8D99-8C566DE46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201668"/>
              </p:ext>
            </p:extLst>
          </p:nvPr>
        </p:nvGraphicFramePr>
        <p:xfrm>
          <a:off x="4173809" y="964774"/>
          <a:ext cx="909207" cy="5695835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405275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001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010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011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100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101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/>
                        <a:t>0110</a:t>
                      </a:r>
                      <a:endParaRPr lang="zh-CN" alt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</a:tbl>
          </a:graphicData>
        </a:graphic>
      </p:graphicFrame>
      <p:sp>
        <p:nvSpPr>
          <p:cNvPr id="44" name="箭头: 下 43">
            <a:extLst>
              <a:ext uri="{FF2B5EF4-FFF2-40B4-BE49-F238E27FC236}">
                <a16:creationId xmlns:a16="http://schemas.microsoft.com/office/drawing/2014/main" id="{C9690C34-1BCA-46A9-B344-8FCF4D35C1D2}"/>
              </a:ext>
            </a:extLst>
          </p:cNvPr>
          <p:cNvSpPr/>
          <p:nvPr/>
        </p:nvSpPr>
        <p:spPr>
          <a:xfrm>
            <a:off x="1351089" y="3722260"/>
            <a:ext cx="442912" cy="90725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815B9A0D-844F-4D3A-9AE2-172DE466AE1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70" t="14360" r="15905" b="30126"/>
          <a:stretch/>
        </p:blipFill>
        <p:spPr>
          <a:xfrm>
            <a:off x="8420256" y="1099773"/>
            <a:ext cx="3343387" cy="2258886"/>
          </a:xfrm>
          <a:prstGeom prst="rect">
            <a:avLst/>
          </a:prstGeom>
        </p:spPr>
      </p:pic>
      <p:sp>
        <p:nvSpPr>
          <p:cNvPr id="46" name="文本框 45">
            <a:extLst>
              <a:ext uri="{FF2B5EF4-FFF2-40B4-BE49-F238E27FC236}">
                <a16:creationId xmlns:a16="http://schemas.microsoft.com/office/drawing/2014/main" id="{A6C1CA3C-FF41-4AEE-9985-301A9523C0EC}"/>
              </a:ext>
            </a:extLst>
          </p:cNvPr>
          <p:cNvSpPr txBox="1"/>
          <p:nvPr/>
        </p:nvSpPr>
        <p:spPr>
          <a:xfrm>
            <a:off x="5788877" y="5259430"/>
            <a:ext cx="46912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/>
              <a:t>74163</a:t>
            </a:r>
            <a:r>
              <a:rPr lang="zh-CN" altLang="en-US" dirty="0"/>
              <a:t>芯片，</a:t>
            </a:r>
            <a:r>
              <a:rPr lang="en-US" altLang="zh-CN" dirty="0"/>
              <a:t>14s</a:t>
            </a:r>
            <a:r>
              <a:rPr lang="zh-CN" altLang="en-US" dirty="0"/>
              <a:t>之后从</a:t>
            </a:r>
            <a:r>
              <a:rPr lang="en-US" altLang="zh-CN" dirty="0"/>
              <a:t>1101</a:t>
            </a:r>
            <a:r>
              <a:rPr lang="zh-CN" altLang="en-US" dirty="0"/>
              <a:t>重新置数回</a:t>
            </a:r>
            <a:r>
              <a:rPr lang="en-US" altLang="zh-CN" dirty="0"/>
              <a:t>0000</a:t>
            </a:r>
          </a:p>
          <a:p>
            <a:r>
              <a:rPr lang="zh-CN" altLang="en-US" dirty="0"/>
              <a:t>则置数端的输入为</a:t>
            </a:r>
            <a:r>
              <a:rPr lang="en-US" altLang="zh-CN" b="1" dirty="0"/>
              <a:t>LOAD</a:t>
            </a:r>
            <a:r>
              <a:rPr lang="zh-CN" altLang="en-US" b="1" dirty="0"/>
              <a:t>（</a:t>
            </a:r>
            <a:r>
              <a:rPr lang="en-US" altLang="zh-CN" b="1" dirty="0"/>
              <a:t>red</a:t>
            </a:r>
            <a:r>
              <a:rPr lang="zh-CN" altLang="en-US" b="1" dirty="0"/>
              <a:t>）</a:t>
            </a:r>
            <a:r>
              <a:rPr lang="en-US" altLang="zh-CN" b="1" dirty="0"/>
              <a:t>=Q3Q2Q0</a:t>
            </a:r>
            <a:endParaRPr lang="zh-CN" altLang="en-US" b="1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AF0210B7-DA93-40AB-9F4E-80C6FF3BF918}"/>
              </a:ext>
            </a:extLst>
          </p:cNvPr>
          <p:cNvSpPr txBox="1"/>
          <p:nvPr/>
        </p:nvSpPr>
        <p:spPr>
          <a:xfrm>
            <a:off x="5788878" y="3820189"/>
            <a:ext cx="451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卡诺图化简</a:t>
            </a:r>
            <a:endParaRPr lang="en-US" altLang="zh-CN" dirty="0"/>
          </a:p>
          <a:p>
            <a:r>
              <a:rPr lang="zh-CN" altLang="en-US" dirty="0"/>
              <a:t>得到的循环逻辑函数为</a:t>
            </a:r>
            <a:endParaRPr lang="en-US" altLang="zh-CN" dirty="0"/>
          </a:p>
          <a:p>
            <a:r>
              <a:rPr lang="en-US" altLang="zh-CN" b="1" dirty="0"/>
              <a:t>Z</a:t>
            </a:r>
            <a:r>
              <a:rPr lang="zh-CN" altLang="en-US" b="1" dirty="0"/>
              <a:t>（</a:t>
            </a:r>
            <a:r>
              <a:rPr lang="en-US" altLang="zh-CN" b="1" dirty="0"/>
              <a:t>red</a:t>
            </a:r>
            <a:r>
              <a:rPr lang="zh-CN" altLang="en-US" b="1" dirty="0"/>
              <a:t>）</a:t>
            </a:r>
            <a:r>
              <a:rPr lang="en-US" altLang="zh-CN" b="1" dirty="0"/>
              <a:t>=  Q3'Q2Q1Q0+Q3Q1'+Q3Q2'</a:t>
            </a:r>
            <a:endParaRPr lang="zh-CN" altLang="en-US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1774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E25503C-961E-44F6-A156-54DFAB8E9D03}"/>
              </a:ext>
            </a:extLst>
          </p:cNvPr>
          <p:cNvSpPr txBox="1"/>
          <p:nvPr/>
        </p:nvSpPr>
        <p:spPr>
          <a:xfrm>
            <a:off x="256085" y="575107"/>
            <a:ext cx="20652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不考虑延时</a:t>
            </a:r>
            <a:endParaRPr lang="en-US" altLang="zh-CN" sz="2800" dirty="0"/>
          </a:p>
          <a:p>
            <a:r>
              <a:rPr lang="zh-CN" altLang="en-US" sz="2800" dirty="0"/>
              <a:t>东西红灯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51C136C-687A-4361-B715-6525ABE2A1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149515"/>
              </p:ext>
            </p:extLst>
          </p:nvPr>
        </p:nvGraphicFramePr>
        <p:xfrm>
          <a:off x="2321370" y="660481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0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7903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11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8D0028EB-36CF-4FBA-B2B7-BA4DF5ADBBC3}"/>
              </a:ext>
            </a:extLst>
          </p:cNvPr>
          <p:cNvSpPr txBox="1"/>
          <p:nvPr/>
        </p:nvSpPr>
        <p:spPr>
          <a:xfrm>
            <a:off x="5455814" y="1104429"/>
            <a:ext cx="609492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Z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red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  Q3Q2'+Q3Q1'+Q3Q0'+Q2'Q1'Q0'</a:t>
            </a: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E7E158FD-AC6B-4B4A-8114-82B09D200DA7}"/>
              </a:ext>
            </a:extLst>
          </p:cNvPr>
          <p:cNvCxnSpPr>
            <a:cxnSpLocks/>
          </p:cNvCxnSpPr>
          <p:nvPr/>
        </p:nvCxnSpPr>
        <p:spPr>
          <a:xfrm>
            <a:off x="3404969" y="6507008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E1D61740-A59A-4F66-92AD-1462070FE014}"/>
              </a:ext>
            </a:extLst>
          </p:cNvPr>
          <p:cNvCxnSpPr>
            <a:cxnSpLocks/>
          </p:cNvCxnSpPr>
          <p:nvPr/>
        </p:nvCxnSpPr>
        <p:spPr>
          <a:xfrm flipV="1">
            <a:off x="4242096" y="1221439"/>
            <a:ext cx="0" cy="5278752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6915CA93-0E39-4620-833F-53A013522063}"/>
              </a:ext>
            </a:extLst>
          </p:cNvPr>
          <p:cNvCxnSpPr>
            <a:cxnSpLocks/>
          </p:cNvCxnSpPr>
          <p:nvPr/>
        </p:nvCxnSpPr>
        <p:spPr>
          <a:xfrm flipH="1">
            <a:off x="3404970" y="1221438"/>
            <a:ext cx="837126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47CCACCC-734A-4381-B085-EBCFFDEF3F9D}"/>
              </a:ext>
            </a:extLst>
          </p:cNvPr>
          <p:cNvSpPr txBox="1"/>
          <p:nvPr/>
        </p:nvSpPr>
        <p:spPr>
          <a:xfrm>
            <a:off x="5542220" y="2222641"/>
            <a:ext cx="60976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LOAD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red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Q3Q2Q1</a:t>
            </a:r>
            <a:endParaRPr lang="zh-CN" altLang="en-US" sz="28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93D88AF-6C9A-488E-AFAE-EBBAFE2E0239}"/>
              </a:ext>
            </a:extLst>
          </p:cNvPr>
          <p:cNvSpPr txBox="1"/>
          <p:nvPr/>
        </p:nvSpPr>
        <p:spPr>
          <a:xfrm>
            <a:off x="5638472" y="3429000"/>
            <a:ext cx="59122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在循环内是从</a:t>
            </a:r>
            <a:r>
              <a:rPr lang="en-US" altLang="zh-CN" sz="2800" dirty="0"/>
              <a:t>0001</a:t>
            </a:r>
            <a:r>
              <a:rPr lang="zh-CN" altLang="en-US" sz="2800" dirty="0"/>
              <a:t>开始计数，则输入端就设置成</a:t>
            </a:r>
            <a:r>
              <a:rPr lang="en-US" altLang="zh-CN" sz="2800" dirty="0"/>
              <a:t>0001</a:t>
            </a:r>
            <a:endParaRPr lang="zh-CN" altLang="en-US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9972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70AE8D2B-8AFA-4E22-9BE3-6F152D2A656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1" t="4893" r="1927" b="4468"/>
          <a:stretch/>
        </p:blipFill>
        <p:spPr>
          <a:xfrm>
            <a:off x="1108049" y="1237703"/>
            <a:ext cx="8228107" cy="334348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23EE869-641E-447B-9C49-06772D6DDB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201" y="4581188"/>
            <a:ext cx="8865080" cy="16521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7049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4E9EAAC1-D480-46A3-A3E4-3CD5FCE92D9D}"/>
              </a:ext>
            </a:extLst>
          </p:cNvPr>
          <p:cNvSpPr txBox="1"/>
          <p:nvPr/>
        </p:nvSpPr>
        <p:spPr>
          <a:xfrm>
            <a:off x="406676" y="488509"/>
            <a:ext cx="17933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dirty="0"/>
              <a:t>东西绿灯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042C9D4D-A5FC-4704-ADD9-E3E0867DC0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877511"/>
              </p:ext>
            </p:extLst>
          </p:nvPr>
        </p:nvGraphicFramePr>
        <p:xfrm>
          <a:off x="2199986" y="761607"/>
          <a:ext cx="909207" cy="6022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9207">
                  <a:extLst>
                    <a:ext uri="{9D8B030D-6E8A-4147-A177-3AD203B41FA5}">
                      <a16:colId xmlns:a16="http://schemas.microsoft.com/office/drawing/2014/main" val="34150143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0790936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18285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1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3410223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01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9098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00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4984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1" dirty="0">
                          <a:solidFill>
                            <a:srgbClr val="FF0000"/>
                          </a:solidFill>
                        </a:rPr>
                        <a:t>0101</a:t>
                      </a:r>
                      <a:endParaRPr lang="zh-CN" alt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50990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02938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1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5606361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630607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592805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139772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01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5678258"/>
                  </a:ext>
                </a:extLst>
              </a:tr>
              <a:tr h="410400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210616"/>
                  </a:ext>
                </a:extLst>
              </a:tr>
              <a:tr h="278249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0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163526"/>
                  </a:ext>
                </a:extLst>
              </a:tr>
              <a:tr h="267903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11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485563"/>
                  </a:ext>
                </a:extLst>
              </a:tr>
            </a:tbl>
          </a:graphicData>
        </a:graphic>
      </p:graphicFrame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ED241370-B60A-445A-A482-D866681ADECF}"/>
              </a:ext>
            </a:extLst>
          </p:cNvPr>
          <p:cNvCxnSpPr>
            <a:cxnSpLocks/>
          </p:cNvCxnSpPr>
          <p:nvPr/>
        </p:nvCxnSpPr>
        <p:spPr>
          <a:xfrm>
            <a:off x="3283585" y="6608134"/>
            <a:ext cx="83712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5EEF636C-7C58-4398-BC99-EABBA125C326}"/>
              </a:ext>
            </a:extLst>
          </p:cNvPr>
          <p:cNvCxnSpPr>
            <a:cxnSpLocks/>
          </p:cNvCxnSpPr>
          <p:nvPr/>
        </p:nvCxnSpPr>
        <p:spPr>
          <a:xfrm flipV="1">
            <a:off x="4120712" y="1322564"/>
            <a:ext cx="0" cy="528557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7165CDDB-0AD7-46B2-A867-3DE6A0E2FC93}"/>
              </a:ext>
            </a:extLst>
          </p:cNvPr>
          <p:cNvCxnSpPr>
            <a:cxnSpLocks/>
          </p:cNvCxnSpPr>
          <p:nvPr/>
        </p:nvCxnSpPr>
        <p:spPr>
          <a:xfrm flipH="1">
            <a:off x="3283585" y="1322564"/>
            <a:ext cx="83712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87907283-C625-41BB-A8E8-51CD3A2B47E7}"/>
              </a:ext>
            </a:extLst>
          </p:cNvPr>
          <p:cNvSpPr txBox="1"/>
          <p:nvPr/>
        </p:nvSpPr>
        <p:spPr>
          <a:xfrm>
            <a:off x="4566460" y="1139926"/>
            <a:ext cx="92939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1" dirty="0"/>
              <a:t>Z</a:t>
            </a:r>
            <a:r>
              <a:rPr lang="zh-CN" altLang="en-US" sz="3600" b="1" dirty="0"/>
              <a:t>（</a:t>
            </a:r>
            <a:r>
              <a:rPr lang="en-US" altLang="zh-CN" sz="3600" b="1" dirty="0"/>
              <a:t>green</a:t>
            </a:r>
            <a:r>
              <a:rPr lang="zh-CN" altLang="en-US" sz="3600" b="1" dirty="0"/>
              <a:t>）</a:t>
            </a:r>
            <a:r>
              <a:rPr lang="en-US" altLang="zh-CN" sz="3600" b="1" dirty="0"/>
              <a:t>=  Q3Q2'+Q3Q1'+Q3Q0'+Q2'Q1'Q0</a:t>
            </a:r>
            <a:endParaRPr lang="en-US" altLang="zh-CN" sz="2400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7F8E372-4952-4C50-B399-6BAC1D3AE786}"/>
              </a:ext>
            </a:extLst>
          </p:cNvPr>
          <p:cNvSpPr txBox="1"/>
          <p:nvPr/>
        </p:nvSpPr>
        <p:spPr>
          <a:xfrm>
            <a:off x="4566460" y="2685476"/>
            <a:ext cx="60976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LOAD</a:t>
            </a:r>
            <a:r>
              <a:rPr lang="zh-CN" altLang="en-US" sz="2800" b="1" dirty="0"/>
              <a:t>（</a:t>
            </a:r>
            <a:r>
              <a:rPr lang="en-US" altLang="zh-CN" sz="2800" b="1" dirty="0"/>
              <a:t>green</a:t>
            </a:r>
            <a:r>
              <a:rPr lang="zh-CN" altLang="en-US" sz="2800" b="1" dirty="0"/>
              <a:t>）</a:t>
            </a:r>
            <a:r>
              <a:rPr lang="en-US" altLang="zh-CN" sz="2800" b="1" dirty="0"/>
              <a:t>=Q3Q2Q1</a:t>
            </a:r>
            <a:endParaRPr lang="zh-CN" altLang="en-US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804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3478"/>
      </a:accent1>
      <a:accent2>
        <a:srgbClr val="F08300"/>
      </a:accent2>
      <a:accent3>
        <a:srgbClr val="5063F8"/>
      </a:accent3>
      <a:accent4>
        <a:srgbClr val="AFBBCF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23</TotalTime>
  <Words>638</Words>
  <Application>Microsoft Office PowerPoint</Application>
  <PresentationFormat>宽屏</PresentationFormat>
  <Paragraphs>251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6" baseType="lpstr">
      <vt:lpstr>等线</vt:lpstr>
      <vt:lpstr>Microsoft YaHei</vt:lpstr>
      <vt:lpstr>Arial</vt:lpstr>
      <vt:lpstr>Calibri</vt:lpstr>
      <vt:lpstr>Eras Bold ITC</vt:lpstr>
      <vt:lpstr>主题5</vt:lpstr>
      <vt:lpstr>think-cell Slide</vt:lpstr>
      <vt:lpstr>第四题（交通控制灯） </vt:lpstr>
      <vt:lpstr>PowerPoint 演示文稿</vt:lpstr>
      <vt:lpstr>设计思路</vt:lpstr>
      <vt:lpstr>设计思路</vt:lpstr>
      <vt:lpstr>东西方向</vt:lpstr>
      <vt:lpstr>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Riki Allan</cp:lastModifiedBy>
  <cp:revision>9</cp:revision>
  <cp:lastPrinted>2020-09-09T16:00:00Z</cp:lastPrinted>
  <dcterms:created xsi:type="dcterms:W3CDTF">2020-09-09T16:00:00Z</dcterms:created>
  <dcterms:modified xsi:type="dcterms:W3CDTF">2024-12-23T15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e1d0774-2377-4227-bc40-ee4b41b4477b</vt:lpwstr>
  </property>
</Properties>
</file>